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heme/themeOverride25.xml" ContentType="application/vnd.openxmlformats-officedocument.themeOverride+xml"/>
  <Override PartName="/ppt/tags/tag27.xml" ContentType="application/vnd.openxmlformats-officedocument.presentationml.tags+xml"/>
  <Override PartName="/ppt/theme/themeOverride26.xml" ContentType="application/vnd.openxmlformats-officedocument.themeOverride+xml"/>
  <Override PartName="/ppt/tags/tag28.xml" ContentType="application/vnd.openxmlformats-officedocument.presentationml.tags+xml"/>
  <Override PartName="/ppt/theme/themeOverride27.xml" ContentType="application/vnd.openxmlformats-officedocument.themeOverride+xml"/>
  <Override PartName="/ppt/tags/tag29.xml" ContentType="application/vnd.openxmlformats-officedocument.presentationml.tags+xml"/>
  <Override PartName="/ppt/theme/themeOverride28.xml" ContentType="application/vnd.openxmlformats-officedocument.themeOverride+xml"/>
  <Override PartName="/ppt/tags/tag30.xml" ContentType="application/vnd.openxmlformats-officedocument.presentationml.tags+xml"/>
  <Override PartName="/ppt/theme/themeOverride29.xml" ContentType="application/vnd.openxmlformats-officedocument.themeOverride+xml"/>
  <Override PartName="/ppt/tags/tag31.xml" ContentType="application/vnd.openxmlformats-officedocument.presentationml.tags+xml"/>
  <Override PartName="/ppt/theme/themeOverride30.xml" ContentType="application/vnd.openxmlformats-officedocument.themeOverride+xml"/>
  <Override PartName="/ppt/tags/tag32.xml" ContentType="application/vnd.openxmlformats-officedocument.presentationml.tags+xml"/>
  <Override PartName="/ppt/theme/themeOverride31.xml" ContentType="application/vnd.openxmlformats-officedocument.themeOverride+xml"/>
  <Override PartName="/ppt/tags/tag33.xml" ContentType="application/vnd.openxmlformats-officedocument.presentationml.tags+xml"/>
  <Override PartName="/ppt/theme/themeOverride32.xml" ContentType="application/vnd.openxmlformats-officedocument.themeOverride+xml"/>
  <Override PartName="/ppt/tags/tag34.xml" ContentType="application/vnd.openxmlformats-officedocument.presentationml.tags+xml"/>
  <Override PartName="/ppt/theme/themeOverride3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12"/>
  </p:notesMasterIdLst>
  <p:handoutMasterIdLst>
    <p:handoutMasterId r:id="rId13"/>
  </p:handoutMasterIdLst>
  <p:sldIdLst>
    <p:sldId id="2147471729" r:id="rId5"/>
    <p:sldId id="2147471648" r:id="rId6"/>
    <p:sldId id="2147471656" r:id="rId7"/>
    <p:sldId id="2147471596" r:id="rId8"/>
    <p:sldId id="2147471681" r:id="rId9"/>
    <p:sldId id="2147471590" r:id="rId10"/>
    <p:sldId id="2147471653" r:id="rId11"/>
  </p:sldIdLst>
  <p:sldSz cx="9906000" cy="6858000" type="A4"/>
  <p:notesSz cx="9939338" cy="14368463"/>
  <p:custDataLst>
    <p:tags r:id="rId14"/>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0">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321"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4526" userDrawn="1">
          <p15:clr>
            <a:srgbClr val="A4A3A4"/>
          </p15:clr>
        </p15:guide>
        <p15:guide id="2" pos="313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56AF02-EA96-1C99-8C13-AE801E0540DE}" name="Lena Iganova" initials="LI" userId="S::Lena.Iganova@nousgroup.com::3e70c86c-569a-4250-bdba-9f88ea9603fc" providerId="AD"/>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6BED933F-4E69-940C-E2C6-5A98827BC082}" name="Lauren Buttigieg" initials="LB" userId="S::Lauren.Buttigieg@nousgroup.com::9a8fefbc-9864-4196-a044-40d7b1e2fa84"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A1129976-3C9A-5A31-BCA0-435ABAE5A0E7}" name="Lena Iganova" initials="LI" userId="S::lena.iganova@nousgroup.com::3e70c86c-569a-4250-bdba-9f88ea9603fc"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53CCF29A-568A-992D-FF26-A3BC3C19CA5F}" name="Connor Xu" initials="CX" userId="S::connor.xu@nousgroup.com::a2fa5610-7f85-41f8-9630-afc02cec4fa9" providerId="AD"/>
  <p188:author id="{2C3D469C-A474-A303-986C-3B19B0DCAFB7}" name="Meredith Lowder" initials="ML" userId="S::Meredith.Lowder@nousgroup.com::f0842a1a-b7f1-41ae-8904-0608067d1bf0" providerId="AD"/>
  <p188:author id="{525E4BA1-2472-B3A5-CC08-E7E0E31F2531}" name="Helena Worthington (DTF)" initials="HW" userId="S::helena.worthington@betterreg.vic.gov.au::872c2340-4a31-4883-b18d-67548b3a9bcd" providerId="AD"/>
  <p188:author id="{65FE5FB2-BB86-46D7-AF96-58CF00486DA6}" name="Lachlan Iape" initials="LI" userId="S::Lachlan.Iape@nousgroup.com::3127c616-97ab-4b9a-80db-8edf7e2f3cde" providerId="AD"/>
  <p188:author id="{5E5BDFC9-0106-37BF-60C0-15507528056F}" name="Lola Dunne" initials="LD" userId="S::Lola.Dunne@nousgroup.com::3b935565-98d8-40c3-b8fc-e35767fdebbf" providerId="AD"/>
  <p188:author id="{71F3A3CA-A048-55EC-C2B7-765538F74D28}" name="Claire Noone" initials="CN" userId="S::claire.noone@nousgroup.com::4205f047-17a4-4705-b4ef-4fb8d686e543" providerId="AD"/>
  <p188:author id="{7AE376E2-8A03-82A9-AC66-5D05DC8121C6}" name="Hannah McHardy" initials="HM" userId="S::hannah.mchardy@nousgroup.com::f3c2eb28-09f0-4650-957e-94cb1449084b"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62BA"/>
    <a:srgbClr val="187094"/>
    <a:srgbClr val="1F2A44"/>
    <a:srgbClr val="EF6BD6"/>
    <a:srgbClr val="E8E9EA"/>
    <a:srgbClr val="FFFFFF"/>
    <a:srgbClr val="F2F2F2"/>
    <a:srgbClr val="78BE20"/>
    <a:srgbClr val="215D97"/>
    <a:srgbClr val="0086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3" d="100"/>
          <a:sy n="123" d="100"/>
        </p:scale>
        <p:origin x="960" y="96"/>
      </p:cViewPr>
      <p:guideLst>
        <p:guide orient="horz" pos="2069"/>
        <p:guide orient="horz" pos="731"/>
        <p:guide orient="horz" pos="3362"/>
        <p:guide orient="horz" pos="777"/>
        <p:guide orient="horz" pos="160"/>
        <p:guide orient="horz" pos="3702"/>
        <p:guide orient="horz" pos="3770"/>
        <p:guide pos="3120"/>
        <p:guide pos="341"/>
        <p:guide pos="5910"/>
        <p:guide orient="horz" pos="1026"/>
        <p:guide orient="horz" pos="1321"/>
        <p:guide orient="horz" pos="1888"/>
        <p:guide orient="horz" pos="232"/>
        <p:guide orient="horz" pos="52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4526"/>
        <p:guide pos="313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chlan Iape" userId="3127c616-97ab-4b9a-80db-8edf7e2f3cde" providerId="ADAL" clId="{9C675B8F-A40C-4E09-9D8C-AAB6285E36D4}"/>
    <pc:docChg chg="custSel modSld">
      <pc:chgData name="Lachlan Iape" userId="3127c616-97ab-4b9a-80db-8edf7e2f3cde" providerId="ADAL" clId="{9C675B8F-A40C-4E09-9D8C-AAB6285E36D4}" dt="2024-09-10T07:52:37.546" v="96" actId="478"/>
      <pc:docMkLst>
        <pc:docMk/>
      </pc:docMkLst>
      <pc:sldChg chg="addSp delSp modSp mod">
        <pc:chgData name="Lachlan Iape" userId="3127c616-97ab-4b9a-80db-8edf7e2f3cde" providerId="ADAL" clId="{9C675B8F-A40C-4E09-9D8C-AAB6285E36D4}" dt="2024-09-10T07:52:37.546" v="96" actId="478"/>
        <pc:sldMkLst>
          <pc:docMk/>
          <pc:sldMk cId="806101404" sldId="2147471590"/>
        </pc:sldMkLst>
        <pc:spChg chg="add del mod">
          <ac:chgData name="Lachlan Iape" userId="3127c616-97ab-4b9a-80db-8edf7e2f3cde" providerId="ADAL" clId="{9C675B8F-A40C-4E09-9D8C-AAB6285E36D4}" dt="2024-09-10T07:52:37.546" v="96" actId="478"/>
          <ac:spMkLst>
            <pc:docMk/>
            <pc:sldMk cId="806101404" sldId="2147471590"/>
            <ac:spMk id="2" creationId="{D8D970B7-C612-0592-D399-F9DAB2AFC099}"/>
          </ac:spMkLst>
        </pc:spChg>
        <pc:spChg chg="mod">
          <ac:chgData name="Lachlan Iape" userId="3127c616-97ab-4b9a-80db-8edf7e2f3cde" providerId="ADAL" clId="{9C675B8F-A40C-4E09-9D8C-AAB6285E36D4}" dt="2024-09-10T07:52:27.418" v="74" actId="20577"/>
          <ac:spMkLst>
            <pc:docMk/>
            <pc:sldMk cId="806101404" sldId="2147471590"/>
            <ac:spMk id="28" creationId="{6FE5B717-68E7-B5A6-8A42-7B74B0E6ECE2}"/>
          </ac:spMkLst>
        </pc:spChg>
        <pc:spChg chg="mod">
          <ac:chgData name="Lachlan Iape" userId="3127c616-97ab-4b9a-80db-8edf7e2f3cde" providerId="ADAL" clId="{9C675B8F-A40C-4E09-9D8C-AAB6285E36D4}" dt="2024-09-10T07:52:35.448" v="95" actId="20577"/>
          <ac:spMkLst>
            <pc:docMk/>
            <pc:sldMk cId="806101404" sldId="2147471590"/>
            <ac:spMk id="33" creationId="{3836A8CB-C90C-1E04-6680-71F89E7CA9D3}"/>
          </ac:spMkLst>
        </pc:spChg>
      </pc:sldChg>
      <pc:sldChg chg="modSp mod">
        <pc:chgData name="Lachlan Iape" userId="3127c616-97ab-4b9a-80db-8edf7e2f3cde" providerId="ADAL" clId="{9C675B8F-A40C-4E09-9D8C-AAB6285E36D4}" dt="2024-09-04T01:42:18.138" v="0" actId="14100"/>
        <pc:sldMkLst>
          <pc:docMk/>
          <pc:sldMk cId="2887098628" sldId="2147471648"/>
        </pc:sldMkLst>
        <pc:spChg chg="mod">
          <ac:chgData name="Lachlan Iape" userId="3127c616-97ab-4b9a-80db-8edf7e2f3cde" providerId="ADAL" clId="{9C675B8F-A40C-4E09-9D8C-AAB6285E36D4}" dt="2024-09-04T01:42:18.138" v="0" actId="14100"/>
          <ac:spMkLst>
            <pc:docMk/>
            <pc:sldMk cId="2887098628" sldId="2147471648"/>
            <ac:spMk id="15" creationId="{5A26544D-C393-6411-1B4F-4C4D5606DA2E}"/>
          </ac:spMkLst>
        </pc:spChg>
      </pc:sldChg>
    </pc:docChg>
  </pc:docChgLst>
  <pc:docChgLst>
    <pc:chgData name="Connor Xu" userId="a2fa5610-7f85-41f8-9630-afc02cec4fa9" providerId="ADAL" clId="{EE18113F-3779-4A65-87D1-C584C28E733E}"/>
    <pc:docChg chg="addSld delSld modSld sldOrd delSection modSection">
      <pc:chgData name="Connor Xu" userId="a2fa5610-7f85-41f8-9630-afc02cec4fa9" providerId="ADAL" clId="{EE18113F-3779-4A65-87D1-C584C28E733E}" dt="2024-09-02T06:27:46.713" v="263" actId="47"/>
      <pc:docMkLst>
        <pc:docMk/>
      </pc:docMkLst>
      <pc:sldChg chg="add del">
        <pc:chgData name="Connor Xu" userId="a2fa5610-7f85-41f8-9630-afc02cec4fa9" providerId="ADAL" clId="{EE18113F-3779-4A65-87D1-C584C28E733E}" dt="2024-09-02T06:08:42.722" v="38" actId="47"/>
        <pc:sldMkLst>
          <pc:docMk/>
          <pc:sldMk cId="2160923306" sldId="256"/>
        </pc:sldMkLst>
      </pc:sldChg>
      <pc:sldChg chg="del">
        <pc:chgData name="Connor Xu" userId="a2fa5610-7f85-41f8-9630-afc02cec4fa9" providerId="ADAL" clId="{EE18113F-3779-4A65-87D1-C584C28E733E}" dt="2024-09-02T06:22:56.974" v="152" actId="47"/>
        <pc:sldMkLst>
          <pc:docMk/>
          <pc:sldMk cId="3262821177" sldId="270"/>
        </pc:sldMkLst>
      </pc:sldChg>
      <pc:sldChg chg="del">
        <pc:chgData name="Connor Xu" userId="a2fa5610-7f85-41f8-9630-afc02cec4fa9" providerId="ADAL" clId="{EE18113F-3779-4A65-87D1-C584C28E733E}" dt="2024-09-02T06:22:55.811" v="140" actId="47"/>
        <pc:sldMkLst>
          <pc:docMk/>
          <pc:sldMk cId="1031989482" sldId="2145706307"/>
        </pc:sldMkLst>
      </pc:sldChg>
      <pc:sldChg chg="del">
        <pc:chgData name="Connor Xu" userId="a2fa5610-7f85-41f8-9630-afc02cec4fa9" providerId="ADAL" clId="{EE18113F-3779-4A65-87D1-C584C28E733E}" dt="2024-09-02T06:22:55.710" v="139" actId="47"/>
        <pc:sldMkLst>
          <pc:docMk/>
          <pc:sldMk cId="4194741347" sldId="2145706536"/>
        </pc:sldMkLst>
      </pc:sldChg>
      <pc:sldChg chg="del">
        <pc:chgData name="Connor Xu" userId="a2fa5610-7f85-41f8-9630-afc02cec4fa9" providerId="ADAL" clId="{EE18113F-3779-4A65-87D1-C584C28E733E}" dt="2024-09-02T06:22:56.677" v="143" actId="47"/>
        <pc:sldMkLst>
          <pc:docMk/>
          <pc:sldMk cId="2176534885" sldId="2147471267"/>
        </pc:sldMkLst>
      </pc:sldChg>
      <pc:sldChg chg="del">
        <pc:chgData name="Connor Xu" userId="a2fa5610-7f85-41f8-9630-afc02cec4fa9" providerId="ADAL" clId="{EE18113F-3779-4A65-87D1-C584C28E733E}" dt="2024-09-02T06:22:56.713" v="144" actId="47"/>
        <pc:sldMkLst>
          <pc:docMk/>
          <pc:sldMk cId="1879541994" sldId="2147471296"/>
        </pc:sldMkLst>
      </pc:sldChg>
      <pc:sldChg chg="del">
        <pc:chgData name="Connor Xu" userId="a2fa5610-7f85-41f8-9630-afc02cec4fa9" providerId="ADAL" clId="{EE18113F-3779-4A65-87D1-C584C28E733E}" dt="2024-09-02T06:22:56.739" v="145" actId="47"/>
        <pc:sldMkLst>
          <pc:docMk/>
          <pc:sldMk cId="3454937915" sldId="2147471306"/>
        </pc:sldMkLst>
      </pc:sldChg>
      <pc:sldChg chg="add del">
        <pc:chgData name="Connor Xu" userId="a2fa5610-7f85-41f8-9630-afc02cec4fa9" providerId="ADAL" clId="{EE18113F-3779-4A65-87D1-C584C28E733E}" dt="2024-09-02T06:07:34.210" v="2"/>
        <pc:sldMkLst>
          <pc:docMk/>
          <pc:sldMk cId="3452808978" sldId="2147471352"/>
        </pc:sldMkLst>
      </pc:sldChg>
      <pc:sldChg chg="add del">
        <pc:chgData name="Connor Xu" userId="a2fa5610-7f85-41f8-9630-afc02cec4fa9" providerId="ADAL" clId="{EE18113F-3779-4A65-87D1-C584C28E733E}" dt="2024-09-02T06:07:34.210" v="2"/>
        <pc:sldMkLst>
          <pc:docMk/>
          <pc:sldMk cId="2783805322" sldId="2147471357"/>
        </pc:sldMkLst>
      </pc:sldChg>
      <pc:sldChg chg="add del">
        <pc:chgData name="Connor Xu" userId="a2fa5610-7f85-41f8-9630-afc02cec4fa9" providerId="ADAL" clId="{EE18113F-3779-4A65-87D1-C584C28E733E}" dt="2024-09-02T06:07:34.210" v="2"/>
        <pc:sldMkLst>
          <pc:docMk/>
          <pc:sldMk cId="270764744" sldId="2147471363"/>
        </pc:sldMkLst>
      </pc:sldChg>
      <pc:sldChg chg="add del">
        <pc:chgData name="Connor Xu" userId="a2fa5610-7f85-41f8-9630-afc02cec4fa9" providerId="ADAL" clId="{EE18113F-3779-4A65-87D1-C584C28E733E}" dt="2024-09-02T06:27:46.713" v="263" actId="47"/>
        <pc:sldMkLst>
          <pc:docMk/>
          <pc:sldMk cId="1158413046" sldId="2147471365"/>
        </pc:sldMkLst>
      </pc:sldChg>
      <pc:sldChg chg="addSp add del modNotes">
        <pc:chgData name="Connor Xu" userId="a2fa5610-7f85-41f8-9630-afc02cec4fa9" providerId="ADAL" clId="{EE18113F-3779-4A65-87D1-C584C28E733E}" dt="2024-09-02T06:23:18.977" v="254" actId="47"/>
        <pc:sldMkLst>
          <pc:docMk/>
          <pc:sldMk cId="1525853113" sldId="2147471372"/>
        </pc:sldMkLst>
        <pc:picChg chg="add">
          <ac:chgData name="Connor Xu" userId="a2fa5610-7f85-41f8-9630-afc02cec4fa9" providerId="ADAL" clId="{EE18113F-3779-4A65-87D1-C584C28E733E}" dt="2024-09-02T06:10:55.973" v="44"/>
          <ac:picMkLst>
            <pc:docMk/>
            <pc:sldMk cId="1525853113" sldId="2147471372"/>
            <ac:picMk id="4" creationId="{6DDCA042-FF02-9A96-4F89-0663696A7DA1}"/>
          </ac:picMkLst>
        </pc:picChg>
      </pc:sldChg>
      <pc:sldChg chg="add del">
        <pc:chgData name="Connor Xu" userId="a2fa5610-7f85-41f8-9630-afc02cec4fa9" providerId="ADAL" clId="{EE18113F-3779-4A65-87D1-C584C28E733E}" dt="2024-09-02T06:07:34.210" v="2"/>
        <pc:sldMkLst>
          <pc:docMk/>
          <pc:sldMk cId="3301852112" sldId="2147471376"/>
        </pc:sldMkLst>
      </pc:sldChg>
      <pc:sldChg chg="add del">
        <pc:chgData name="Connor Xu" userId="a2fa5610-7f85-41f8-9630-afc02cec4fa9" providerId="ADAL" clId="{EE18113F-3779-4A65-87D1-C584C28E733E}" dt="2024-09-02T06:07:34.210" v="2"/>
        <pc:sldMkLst>
          <pc:docMk/>
          <pc:sldMk cId="3475717260" sldId="2147471377"/>
        </pc:sldMkLst>
      </pc:sldChg>
      <pc:sldChg chg="add del">
        <pc:chgData name="Connor Xu" userId="a2fa5610-7f85-41f8-9630-afc02cec4fa9" providerId="ADAL" clId="{EE18113F-3779-4A65-87D1-C584C28E733E}" dt="2024-09-02T06:23:22.169" v="255" actId="47"/>
        <pc:sldMkLst>
          <pc:docMk/>
          <pc:sldMk cId="4069698799" sldId="2147471378"/>
        </pc:sldMkLst>
      </pc:sldChg>
      <pc:sldChg chg="del">
        <pc:chgData name="Connor Xu" userId="a2fa5610-7f85-41f8-9630-afc02cec4fa9" providerId="ADAL" clId="{EE18113F-3779-4A65-87D1-C584C28E733E}" dt="2024-09-02T06:22:59.477" v="207" actId="47"/>
        <pc:sldMkLst>
          <pc:docMk/>
          <pc:sldMk cId="2399116334" sldId="2147471379"/>
        </pc:sldMkLst>
      </pc:sldChg>
      <pc:sldChg chg="del">
        <pc:chgData name="Connor Xu" userId="a2fa5610-7f85-41f8-9630-afc02cec4fa9" providerId="ADAL" clId="{EE18113F-3779-4A65-87D1-C584C28E733E}" dt="2024-09-02T06:22:59.257" v="200" actId="47"/>
        <pc:sldMkLst>
          <pc:docMk/>
          <pc:sldMk cId="2478982406" sldId="2147471381"/>
        </pc:sldMkLst>
      </pc:sldChg>
      <pc:sldChg chg="del">
        <pc:chgData name="Connor Xu" userId="a2fa5610-7f85-41f8-9630-afc02cec4fa9" providerId="ADAL" clId="{EE18113F-3779-4A65-87D1-C584C28E733E}" dt="2024-09-02T06:22:59.037" v="193" actId="47"/>
        <pc:sldMkLst>
          <pc:docMk/>
          <pc:sldMk cId="2192921596" sldId="2147471383"/>
        </pc:sldMkLst>
      </pc:sldChg>
      <pc:sldChg chg="del">
        <pc:chgData name="Connor Xu" userId="a2fa5610-7f85-41f8-9630-afc02cec4fa9" providerId="ADAL" clId="{EE18113F-3779-4A65-87D1-C584C28E733E}" dt="2024-09-02T06:22:58.819" v="186" actId="47"/>
        <pc:sldMkLst>
          <pc:docMk/>
          <pc:sldMk cId="1990164830" sldId="2147471385"/>
        </pc:sldMkLst>
      </pc:sldChg>
      <pc:sldChg chg="del">
        <pc:chgData name="Connor Xu" userId="a2fa5610-7f85-41f8-9630-afc02cec4fa9" providerId="ADAL" clId="{EE18113F-3779-4A65-87D1-C584C28E733E}" dt="2024-09-02T06:22:56.841" v="148" actId="47"/>
        <pc:sldMkLst>
          <pc:docMk/>
          <pc:sldMk cId="1992941528" sldId="2147471416"/>
        </pc:sldMkLst>
      </pc:sldChg>
      <pc:sldChg chg="del">
        <pc:chgData name="Connor Xu" userId="a2fa5610-7f85-41f8-9630-afc02cec4fa9" providerId="ADAL" clId="{EE18113F-3779-4A65-87D1-C584C28E733E}" dt="2024-09-02T06:22:57.778" v="177" actId="47"/>
        <pc:sldMkLst>
          <pc:docMk/>
          <pc:sldMk cId="2835252447" sldId="2147471466"/>
        </pc:sldMkLst>
      </pc:sldChg>
      <pc:sldChg chg="del">
        <pc:chgData name="Connor Xu" userId="a2fa5610-7f85-41f8-9630-afc02cec4fa9" providerId="ADAL" clId="{EE18113F-3779-4A65-87D1-C584C28E733E}" dt="2024-09-02T06:22:56.916" v="151" actId="47"/>
        <pc:sldMkLst>
          <pc:docMk/>
          <pc:sldMk cId="1581307264" sldId="2147471505"/>
        </pc:sldMkLst>
      </pc:sldChg>
      <pc:sldChg chg="del">
        <pc:chgData name="Connor Xu" userId="a2fa5610-7f85-41f8-9630-afc02cec4fa9" providerId="ADAL" clId="{EE18113F-3779-4A65-87D1-C584C28E733E}" dt="2024-09-02T06:22:57.432" v="166" actId="47"/>
        <pc:sldMkLst>
          <pc:docMk/>
          <pc:sldMk cId="3732230859" sldId="2147471506"/>
        </pc:sldMkLst>
      </pc:sldChg>
      <pc:sldChg chg="del">
        <pc:chgData name="Connor Xu" userId="a2fa5610-7f85-41f8-9630-afc02cec4fa9" providerId="ADAL" clId="{EE18113F-3779-4A65-87D1-C584C28E733E}" dt="2024-09-02T06:22:55.643" v="136" actId="47"/>
        <pc:sldMkLst>
          <pc:docMk/>
          <pc:sldMk cId="213221418" sldId="2147471508"/>
        </pc:sldMkLst>
      </pc:sldChg>
      <pc:sldChg chg="del">
        <pc:chgData name="Connor Xu" userId="a2fa5610-7f85-41f8-9630-afc02cec4fa9" providerId="ADAL" clId="{EE18113F-3779-4A65-87D1-C584C28E733E}" dt="2024-09-02T06:23:00.762" v="221" actId="47"/>
        <pc:sldMkLst>
          <pc:docMk/>
          <pc:sldMk cId="2590382919" sldId="2147471510"/>
        </pc:sldMkLst>
      </pc:sldChg>
      <pc:sldChg chg="del">
        <pc:chgData name="Connor Xu" userId="a2fa5610-7f85-41f8-9630-afc02cec4fa9" providerId="ADAL" clId="{EE18113F-3779-4A65-87D1-C584C28E733E}" dt="2024-09-02T06:22:57.549" v="170" actId="47"/>
        <pc:sldMkLst>
          <pc:docMk/>
          <pc:sldMk cId="1525720501" sldId="2147471516"/>
        </pc:sldMkLst>
      </pc:sldChg>
      <pc:sldChg chg="del">
        <pc:chgData name="Connor Xu" userId="a2fa5610-7f85-41f8-9630-afc02cec4fa9" providerId="ADAL" clId="{EE18113F-3779-4A65-87D1-C584C28E733E}" dt="2024-09-02T06:23:00.643" v="217" actId="47"/>
        <pc:sldMkLst>
          <pc:docMk/>
          <pc:sldMk cId="3726805784" sldId="2147471526"/>
        </pc:sldMkLst>
      </pc:sldChg>
      <pc:sldChg chg="del">
        <pc:chgData name="Connor Xu" userId="a2fa5610-7f85-41f8-9630-afc02cec4fa9" providerId="ADAL" clId="{EE18113F-3779-4A65-87D1-C584C28E733E}" dt="2024-09-02T06:22:57.498" v="168" actId="47"/>
        <pc:sldMkLst>
          <pc:docMk/>
          <pc:sldMk cId="844563747" sldId="2147471529"/>
        </pc:sldMkLst>
      </pc:sldChg>
      <pc:sldChg chg="del">
        <pc:chgData name="Connor Xu" userId="a2fa5610-7f85-41f8-9630-afc02cec4fa9" providerId="ADAL" clId="{EE18113F-3779-4A65-87D1-C584C28E733E}" dt="2024-09-02T06:22:58.844" v="187" actId="47"/>
        <pc:sldMkLst>
          <pc:docMk/>
          <pc:sldMk cId="1704200544" sldId="2147471540"/>
        </pc:sldMkLst>
      </pc:sldChg>
      <pc:sldChg chg="del">
        <pc:chgData name="Connor Xu" userId="a2fa5610-7f85-41f8-9630-afc02cec4fa9" providerId="ADAL" clId="{EE18113F-3779-4A65-87D1-C584C28E733E}" dt="2024-09-02T06:22:59.505" v="208" actId="47"/>
        <pc:sldMkLst>
          <pc:docMk/>
          <pc:sldMk cId="3096354983" sldId="2147471542"/>
        </pc:sldMkLst>
      </pc:sldChg>
      <pc:sldChg chg="del">
        <pc:chgData name="Connor Xu" userId="a2fa5610-7f85-41f8-9630-afc02cec4fa9" providerId="ADAL" clId="{EE18113F-3779-4A65-87D1-C584C28E733E}" dt="2024-09-02T06:23:01.293" v="225" actId="47"/>
        <pc:sldMkLst>
          <pc:docMk/>
          <pc:sldMk cId="3191616871" sldId="2147471551"/>
        </pc:sldMkLst>
      </pc:sldChg>
      <pc:sldChg chg="del">
        <pc:chgData name="Connor Xu" userId="a2fa5610-7f85-41f8-9630-afc02cec4fa9" providerId="ADAL" clId="{EE18113F-3779-4A65-87D1-C584C28E733E}" dt="2024-09-02T06:22:57.530" v="169" actId="47"/>
        <pc:sldMkLst>
          <pc:docMk/>
          <pc:sldMk cId="722364161" sldId="2147471554"/>
        </pc:sldMkLst>
      </pc:sldChg>
      <pc:sldChg chg="del">
        <pc:chgData name="Connor Xu" userId="a2fa5610-7f85-41f8-9630-afc02cec4fa9" providerId="ADAL" clId="{EE18113F-3779-4A65-87D1-C584C28E733E}" dt="2024-09-02T06:22:56.891" v="150" actId="47"/>
        <pc:sldMkLst>
          <pc:docMk/>
          <pc:sldMk cId="2946389797" sldId="2147471563"/>
        </pc:sldMkLst>
      </pc:sldChg>
      <pc:sldChg chg="del">
        <pc:chgData name="Connor Xu" userId="a2fa5610-7f85-41f8-9630-afc02cec4fa9" providerId="ADAL" clId="{EE18113F-3779-4A65-87D1-C584C28E733E}" dt="2024-09-02T06:22:56.794" v="147" actId="47"/>
        <pc:sldMkLst>
          <pc:docMk/>
          <pc:sldMk cId="2389721078" sldId="2147471565"/>
        </pc:sldMkLst>
      </pc:sldChg>
      <pc:sldChg chg="del">
        <pc:chgData name="Connor Xu" userId="a2fa5610-7f85-41f8-9630-afc02cec4fa9" providerId="ADAL" clId="{EE18113F-3779-4A65-87D1-C584C28E733E}" dt="2024-09-02T06:22:55.195" v="135" actId="47"/>
        <pc:sldMkLst>
          <pc:docMk/>
          <pc:sldMk cId="3261567875" sldId="2147471566"/>
        </pc:sldMkLst>
      </pc:sldChg>
      <pc:sldChg chg="del">
        <pc:chgData name="Connor Xu" userId="a2fa5610-7f85-41f8-9630-afc02cec4fa9" providerId="ADAL" clId="{EE18113F-3779-4A65-87D1-C584C28E733E}" dt="2024-09-02T06:22:56.017" v="141" actId="47"/>
        <pc:sldMkLst>
          <pc:docMk/>
          <pc:sldMk cId="2019842779" sldId="2147471567"/>
        </pc:sldMkLst>
      </pc:sldChg>
      <pc:sldChg chg="del">
        <pc:chgData name="Connor Xu" userId="a2fa5610-7f85-41f8-9630-afc02cec4fa9" providerId="ADAL" clId="{EE18113F-3779-4A65-87D1-C584C28E733E}" dt="2024-09-02T06:22:56.162" v="142" actId="47"/>
        <pc:sldMkLst>
          <pc:docMk/>
          <pc:sldMk cId="3732255707" sldId="2147471571"/>
        </pc:sldMkLst>
      </pc:sldChg>
      <pc:sldChg chg="del">
        <pc:chgData name="Connor Xu" userId="a2fa5610-7f85-41f8-9630-afc02cec4fa9" providerId="ADAL" clId="{EE18113F-3779-4A65-87D1-C584C28E733E}" dt="2024-09-02T06:22:56.769" v="146" actId="47"/>
        <pc:sldMkLst>
          <pc:docMk/>
          <pc:sldMk cId="52193789" sldId="2147471572"/>
        </pc:sldMkLst>
      </pc:sldChg>
      <pc:sldChg chg="del">
        <pc:chgData name="Connor Xu" userId="a2fa5610-7f85-41f8-9630-afc02cec4fa9" providerId="ADAL" clId="{EE18113F-3779-4A65-87D1-C584C28E733E}" dt="2024-09-02T06:22:55.688" v="138" actId="47"/>
        <pc:sldMkLst>
          <pc:docMk/>
          <pc:sldMk cId="3819060953" sldId="2147471573"/>
        </pc:sldMkLst>
      </pc:sldChg>
      <pc:sldChg chg="del">
        <pc:chgData name="Connor Xu" userId="a2fa5610-7f85-41f8-9630-afc02cec4fa9" providerId="ADAL" clId="{EE18113F-3779-4A65-87D1-C584C28E733E}" dt="2024-09-02T06:22:55.667" v="137" actId="47"/>
        <pc:sldMkLst>
          <pc:docMk/>
          <pc:sldMk cId="495041050" sldId="2147471574"/>
        </pc:sldMkLst>
      </pc:sldChg>
      <pc:sldChg chg="del">
        <pc:chgData name="Connor Xu" userId="a2fa5610-7f85-41f8-9630-afc02cec4fa9" providerId="ADAL" clId="{EE18113F-3779-4A65-87D1-C584C28E733E}" dt="2024-09-02T06:22:56.867" v="149" actId="47"/>
        <pc:sldMkLst>
          <pc:docMk/>
          <pc:sldMk cId="3933963994" sldId="2147471578"/>
        </pc:sldMkLst>
      </pc:sldChg>
      <pc:sldChg chg="del">
        <pc:chgData name="Connor Xu" userId="a2fa5610-7f85-41f8-9630-afc02cec4fa9" providerId="ADAL" clId="{EE18113F-3779-4A65-87D1-C584C28E733E}" dt="2024-09-02T06:22:57.012" v="153" actId="47"/>
        <pc:sldMkLst>
          <pc:docMk/>
          <pc:sldMk cId="2454108412" sldId="2147471584"/>
        </pc:sldMkLst>
      </pc:sldChg>
      <pc:sldChg chg="del">
        <pc:chgData name="Connor Xu" userId="a2fa5610-7f85-41f8-9630-afc02cec4fa9" providerId="ADAL" clId="{EE18113F-3779-4A65-87D1-C584C28E733E}" dt="2024-09-02T06:22:57.390" v="165" actId="47"/>
        <pc:sldMkLst>
          <pc:docMk/>
          <pc:sldMk cId="2873387960" sldId="2147471586"/>
        </pc:sldMkLst>
      </pc:sldChg>
      <pc:sldChg chg="del">
        <pc:chgData name="Connor Xu" userId="a2fa5610-7f85-41f8-9630-afc02cec4fa9" providerId="ADAL" clId="{EE18113F-3779-4A65-87D1-C584C28E733E}" dt="2024-09-02T06:22:57.356" v="164" actId="47"/>
        <pc:sldMkLst>
          <pc:docMk/>
          <pc:sldMk cId="2264159868" sldId="2147471588"/>
        </pc:sldMkLst>
      </pc:sldChg>
      <pc:sldChg chg="del">
        <pc:chgData name="Connor Xu" userId="a2fa5610-7f85-41f8-9630-afc02cec4fa9" providerId="ADAL" clId="{EE18113F-3779-4A65-87D1-C584C28E733E}" dt="2024-09-02T06:22:57.325" v="163" actId="47"/>
        <pc:sldMkLst>
          <pc:docMk/>
          <pc:sldMk cId="1309646545" sldId="2147471589"/>
        </pc:sldMkLst>
      </pc:sldChg>
      <pc:sldChg chg="del">
        <pc:chgData name="Connor Xu" userId="a2fa5610-7f85-41f8-9630-afc02cec4fa9" providerId="ADAL" clId="{EE18113F-3779-4A65-87D1-C584C28E733E}" dt="2024-09-02T06:22:57.184" v="158" actId="47"/>
        <pc:sldMkLst>
          <pc:docMk/>
          <pc:sldMk cId="806101404" sldId="2147471590"/>
        </pc:sldMkLst>
      </pc:sldChg>
      <pc:sldChg chg="del">
        <pc:chgData name="Connor Xu" userId="a2fa5610-7f85-41f8-9630-afc02cec4fa9" providerId="ADAL" clId="{EE18113F-3779-4A65-87D1-C584C28E733E}" dt="2024-09-02T06:22:57.269" v="161" actId="47"/>
        <pc:sldMkLst>
          <pc:docMk/>
          <pc:sldMk cId="820237444" sldId="2147471591"/>
        </pc:sldMkLst>
      </pc:sldChg>
      <pc:sldChg chg="del">
        <pc:chgData name="Connor Xu" userId="a2fa5610-7f85-41f8-9630-afc02cec4fa9" providerId="ADAL" clId="{EE18113F-3779-4A65-87D1-C584C28E733E}" dt="2024-09-02T06:22:57.299" v="162" actId="47"/>
        <pc:sldMkLst>
          <pc:docMk/>
          <pc:sldMk cId="3433516797" sldId="2147471592"/>
        </pc:sldMkLst>
      </pc:sldChg>
      <pc:sldChg chg="del">
        <pc:chgData name="Connor Xu" userId="a2fa5610-7f85-41f8-9630-afc02cec4fa9" providerId="ADAL" clId="{EE18113F-3779-4A65-87D1-C584C28E733E}" dt="2024-09-02T06:22:57.155" v="157" actId="47"/>
        <pc:sldMkLst>
          <pc:docMk/>
          <pc:sldMk cId="1859614179" sldId="2147471593"/>
        </pc:sldMkLst>
      </pc:sldChg>
      <pc:sldChg chg="del">
        <pc:chgData name="Connor Xu" userId="a2fa5610-7f85-41f8-9630-afc02cec4fa9" providerId="ADAL" clId="{EE18113F-3779-4A65-87D1-C584C28E733E}" dt="2024-09-02T06:22:57.126" v="156" actId="47"/>
        <pc:sldMkLst>
          <pc:docMk/>
          <pc:sldMk cId="505182861" sldId="2147471594"/>
        </pc:sldMkLst>
      </pc:sldChg>
      <pc:sldChg chg="add del">
        <pc:chgData name="Connor Xu" userId="a2fa5610-7f85-41f8-9630-afc02cec4fa9" providerId="ADAL" clId="{EE18113F-3779-4A65-87D1-C584C28E733E}" dt="2024-09-02T06:24:55.739" v="257"/>
        <pc:sldMkLst>
          <pc:docMk/>
          <pc:sldMk cId="4208571328" sldId="2147471596"/>
        </pc:sldMkLst>
      </pc:sldChg>
      <pc:sldChg chg="del">
        <pc:chgData name="Connor Xu" userId="a2fa5610-7f85-41f8-9630-afc02cec4fa9" providerId="ADAL" clId="{EE18113F-3779-4A65-87D1-C584C28E733E}" dt="2024-09-02T06:22:57.209" v="159" actId="47"/>
        <pc:sldMkLst>
          <pc:docMk/>
          <pc:sldMk cId="4097914163" sldId="2147471598"/>
        </pc:sldMkLst>
      </pc:sldChg>
      <pc:sldChg chg="del">
        <pc:chgData name="Connor Xu" userId="a2fa5610-7f85-41f8-9630-afc02cec4fa9" providerId="ADAL" clId="{EE18113F-3779-4A65-87D1-C584C28E733E}" dt="2024-09-02T06:22:57.088" v="155" actId="47"/>
        <pc:sldMkLst>
          <pc:docMk/>
          <pc:sldMk cId="3971867607" sldId="2147471599"/>
        </pc:sldMkLst>
      </pc:sldChg>
      <pc:sldChg chg="del">
        <pc:chgData name="Connor Xu" userId="a2fa5610-7f85-41f8-9630-afc02cec4fa9" providerId="ADAL" clId="{EE18113F-3779-4A65-87D1-C584C28E733E}" dt="2024-09-02T06:22:57.049" v="154" actId="47"/>
        <pc:sldMkLst>
          <pc:docMk/>
          <pc:sldMk cId="2335858992" sldId="2147471600"/>
        </pc:sldMkLst>
      </pc:sldChg>
      <pc:sldChg chg="modSp mod">
        <pc:chgData name="Connor Xu" userId="a2fa5610-7f85-41f8-9630-afc02cec4fa9" providerId="ADAL" clId="{EE18113F-3779-4A65-87D1-C584C28E733E}" dt="2024-09-02T06:11:54.716" v="84" actId="20577"/>
        <pc:sldMkLst>
          <pc:docMk/>
          <pc:sldMk cId="2083619045" sldId="2147471602"/>
        </pc:sldMkLst>
        <pc:spChg chg="mod">
          <ac:chgData name="Connor Xu" userId="a2fa5610-7f85-41f8-9630-afc02cec4fa9" providerId="ADAL" clId="{EE18113F-3779-4A65-87D1-C584C28E733E}" dt="2024-09-02T06:11:54.716" v="84" actId="20577"/>
          <ac:spMkLst>
            <pc:docMk/>
            <pc:sldMk cId="2083619045" sldId="2147471602"/>
            <ac:spMk id="4" creationId="{74695963-93D3-CEED-3211-EA22860FE331}"/>
          </ac:spMkLst>
        </pc:spChg>
      </pc:sldChg>
      <pc:sldChg chg="del">
        <pc:chgData name="Connor Xu" userId="a2fa5610-7f85-41f8-9630-afc02cec4fa9" providerId="ADAL" clId="{EE18113F-3779-4A65-87D1-C584C28E733E}" dt="2024-09-02T06:23:03.783" v="246" actId="47"/>
        <pc:sldMkLst>
          <pc:docMk/>
          <pc:sldMk cId="1702971962" sldId="2147471603"/>
        </pc:sldMkLst>
      </pc:sldChg>
      <pc:sldChg chg="del">
        <pc:chgData name="Connor Xu" userId="a2fa5610-7f85-41f8-9630-afc02cec4fa9" providerId="ADAL" clId="{EE18113F-3779-4A65-87D1-C584C28E733E}" dt="2024-09-02T06:23:03.181" v="241" actId="47"/>
        <pc:sldMkLst>
          <pc:docMk/>
          <pc:sldMk cId="678840449" sldId="2147471609"/>
        </pc:sldMkLst>
      </pc:sldChg>
      <pc:sldChg chg="del">
        <pc:chgData name="Connor Xu" userId="a2fa5610-7f85-41f8-9630-afc02cec4fa9" providerId="ADAL" clId="{EE18113F-3779-4A65-87D1-C584C28E733E}" dt="2024-09-02T06:22:57.454" v="167" actId="47"/>
        <pc:sldMkLst>
          <pc:docMk/>
          <pc:sldMk cId="3418905580" sldId="2147471614"/>
        </pc:sldMkLst>
      </pc:sldChg>
      <pc:sldChg chg="add del">
        <pc:chgData name="Connor Xu" userId="a2fa5610-7f85-41f8-9630-afc02cec4fa9" providerId="ADAL" clId="{EE18113F-3779-4A65-87D1-C584C28E733E}" dt="2024-09-02T06:26:38.129" v="260"/>
        <pc:sldMkLst>
          <pc:docMk/>
          <pc:sldMk cId="2973198158" sldId="2147471621"/>
        </pc:sldMkLst>
      </pc:sldChg>
      <pc:sldChg chg="del">
        <pc:chgData name="Connor Xu" userId="a2fa5610-7f85-41f8-9630-afc02cec4fa9" providerId="ADAL" clId="{EE18113F-3779-4A65-87D1-C584C28E733E}" dt="2024-09-02T06:23:02.392" v="238" actId="47"/>
        <pc:sldMkLst>
          <pc:docMk/>
          <pc:sldMk cId="1284542380" sldId="2147471622"/>
        </pc:sldMkLst>
      </pc:sldChg>
      <pc:sldChg chg="del">
        <pc:chgData name="Connor Xu" userId="a2fa5610-7f85-41f8-9630-afc02cec4fa9" providerId="ADAL" clId="{EE18113F-3779-4A65-87D1-C584C28E733E}" dt="2024-09-02T06:23:01.521" v="233" actId="47"/>
        <pc:sldMkLst>
          <pc:docMk/>
          <pc:sldMk cId="2577352464" sldId="2147471627"/>
        </pc:sldMkLst>
      </pc:sldChg>
      <pc:sldChg chg="del">
        <pc:chgData name="Connor Xu" userId="a2fa5610-7f85-41f8-9630-afc02cec4fa9" providerId="ADAL" clId="{EE18113F-3779-4A65-87D1-C584C28E733E}" dt="2024-09-02T06:23:00.884" v="224" actId="47"/>
        <pc:sldMkLst>
          <pc:docMk/>
          <pc:sldMk cId="1900140867" sldId="2147471633"/>
        </pc:sldMkLst>
      </pc:sldChg>
      <pc:sldChg chg="del">
        <pc:chgData name="Connor Xu" userId="a2fa5610-7f85-41f8-9630-afc02cec4fa9" providerId="ADAL" clId="{EE18113F-3779-4A65-87D1-C584C28E733E}" dt="2024-09-02T06:23:00.822" v="223" actId="47"/>
        <pc:sldMkLst>
          <pc:docMk/>
          <pc:sldMk cId="2259921476" sldId="2147471634"/>
        </pc:sldMkLst>
      </pc:sldChg>
      <pc:sldChg chg="add del">
        <pc:chgData name="Connor Xu" userId="a2fa5610-7f85-41f8-9630-afc02cec4fa9" providerId="ADAL" clId="{EE18113F-3779-4A65-87D1-C584C28E733E}" dt="2024-09-02T06:26:36.478" v="259" actId="47"/>
        <pc:sldMkLst>
          <pc:docMk/>
          <pc:sldMk cId="4070250027" sldId="2147471635"/>
        </pc:sldMkLst>
      </pc:sldChg>
      <pc:sldChg chg="del">
        <pc:chgData name="Connor Xu" userId="a2fa5610-7f85-41f8-9630-afc02cec4fa9" providerId="ADAL" clId="{EE18113F-3779-4A65-87D1-C584C28E733E}" dt="2024-09-02T06:23:00.672" v="218" actId="47"/>
        <pc:sldMkLst>
          <pc:docMk/>
          <pc:sldMk cId="1773920152" sldId="2147471639"/>
        </pc:sldMkLst>
      </pc:sldChg>
      <pc:sldChg chg="del">
        <pc:chgData name="Connor Xu" userId="a2fa5610-7f85-41f8-9630-afc02cec4fa9" providerId="ADAL" clId="{EE18113F-3779-4A65-87D1-C584C28E733E}" dt="2024-09-02T06:23:00.616" v="216" actId="47"/>
        <pc:sldMkLst>
          <pc:docMk/>
          <pc:sldMk cId="573027377" sldId="2147471641"/>
        </pc:sldMkLst>
      </pc:sldChg>
      <pc:sldChg chg="del">
        <pc:chgData name="Connor Xu" userId="a2fa5610-7f85-41f8-9630-afc02cec4fa9" providerId="ADAL" clId="{EE18113F-3779-4A65-87D1-C584C28E733E}" dt="2024-09-02T06:23:03.368" v="245" actId="47"/>
        <pc:sldMkLst>
          <pc:docMk/>
          <pc:sldMk cId="988389258" sldId="2147471642"/>
        </pc:sldMkLst>
      </pc:sldChg>
      <pc:sldChg chg="del">
        <pc:chgData name="Connor Xu" userId="a2fa5610-7f85-41f8-9630-afc02cec4fa9" providerId="ADAL" clId="{EE18113F-3779-4A65-87D1-C584C28E733E}" dt="2024-09-02T06:22:59.628" v="211" actId="47"/>
        <pc:sldMkLst>
          <pc:docMk/>
          <pc:sldMk cId="2662242185" sldId="2147471643"/>
        </pc:sldMkLst>
      </pc:sldChg>
      <pc:sldChg chg="del">
        <pc:chgData name="Connor Xu" userId="a2fa5610-7f85-41f8-9630-afc02cec4fa9" providerId="ADAL" clId="{EE18113F-3779-4A65-87D1-C584C28E733E}" dt="2024-09-02T06:23:00.598" v="215" actId="47"/>
        <pc:sldMkLst>
          <pc:docMk/>
          <pc:sldMk cId="2648665534" sldId="2147471644"/>
        </pc:sldMkLst>
      </pc:sldChg>
      <pc:sldChg chg="del">
        <pc:chgData name="Connor Xu" userId="a2fa5610-7f85-41f8-9630-afc02cec4fa9" providerId="ADAL" clId="{EE18113F-3779-4A65-87D1-C584C28E733E}" dt="2024-09-02T06:23:02.266" v="237" actId="47"/>
        <pc:sldMkLst>
          <pc:docMk/>
          <pc:sldMk cId="232804461" sldId="2147471645"/>
        </pc:sldMkLst>
      </pc:sldChg>
      <pc:sldChg chg="del">
        <pc:chgData name="Connor Xu" userId="a2fa5610-7f85-41f8-9630-afc02cec4fa9" providerId="ADAL" clId="{EE18113F-3779-4A65-87D1-C584C28E733E}" dt="2024-09-02T06:23:02.148" v="236" actId="47"/>
        <pc:sldMkLst>
          <pc:docMk/>
          <pc:sldMk cId="2368218091" sldId="2147471646"/>
        </pc:sldMkLst>
      </pc:sldChg>
      <pc:sldChg chg="del">
        <pc:chgData name="Connor Xu" userId="a2fa5610-7f85-41f8-9630-afc02cec4fa9" providerId="ADAL" clId="{EE18113F-3779-4A65-87D1-C584C28E733E}" dt="2024-09-02T06:23:03.270" v="244" actId="47"/>
        <pc:sldMkLst>
          <pc:docMk/>
          <pc:sldMk cId="977439688" sldId="2147471647"/>
        </pc:sldMkLst>
      </pc:sldChg>
      <pc:sldChg chg="add del">
        <pc:chgData name="Connor Xu" userId="a2fa5610-7f85-41f8-9630-afc02cec4fa9" providerId="ADAL" clId="{EE18113F-3779-4A65-87D1-C584C28E733E}" dt="2024-09-02T06:23:12.686" v="253"/>
        <pc:sldMkLst>
          <pc:docMk/>
          <pc:sldMk cId="2887098628" sldId="2147471648"/>
        </pc:sldMkLst>
      </pc:sldChg>
      <pc:sldChg chg="del">
        <pc:chgData name="Connor Xu" userId="a2fa5610-7f85-41f8-9630-afc02cec4fa9" providerId="ADAL" clId="{EE18113F-3779-4A65-87D1-C584C28E733E}" dt="2024-09-02T06:23:03.209" v="242" actId="47"/>
        <pc:sldMkLst>
          <pc:docMk/>
          <pc:sldMk cId="1673498922" sldId="2147471649"/>
        </pc:sldMkLst>
      </pc:sldChg>
      <pc:sldChg chg="add del">
        <pc:chgData name="Connor Xu" userId="a2fa5610-7f85-41f8-9630-afc02cec4fa9" providerId="ADAL" clId="{EE18113F-3779-4A65-87D1-C584C28E733E}" dt="2024-09-02T06:27:24.695" v="261"/>
        <pc:sldMkLst>
          <pc:docMk/>
          <pc:sldMk cId="1234428817" sldId="2147471653"/>
        </pc:sldMkLst>
      </pc:sldChg>
      <pc:sldChg chg="del">
        <pc:chgData name="Connor Xu" userId="a2fa5610-7f85-41f8-9630-afc02cec4fa9" providerId="ADAL" clId="{EE18113F-3779-4A65-87D1-C584C28E733E}" dt="2024-09-02T06:22:57.738" v="176" actId="47"/>
        <pc:sldMkLst>
          <pc:docMk/>
          <pc:sldMk cId="451160484" sldId="2147471654"/>
        </pc:sldMkLst>
      </pc:sldChg>
      <pc:sldChg chg="del">
        <pc:chgData name="Connor Xu" userId="a2fa5610-7f85-41f8-9630-afc02cec4fa9" providerId="ADAL" clId="{EE18113F-3779-4A65-87D1-C584C28E733E}" dt="2024-09-02T06:23:02.016" v="235" actId="47"/>
        <pc:sldMkLst>
          <pc:docMk/>
          <pc:sldMk cId="861167672" sldId="2147471655"/>
        </pc:sldMkLst>
      </pc:sldChg>
      <pc:sldChg chg="add del">
        <pc:chgData name="Connor Xu" userId="a2fa5610-7f85-41f8-9630-afc02cec4fa9" providerId="ADAL" clId="{EE18113F-3779-4A65-87D1-C584C28E733E}" dt="2024-09-02T06:24:37.828" v="256"/>
        <pc:sldMkLst>
          <pc:docMk/>
          <pc:sldMk cId="3274022134" sldId="2147471656"/>
        </pc:sldMkLst>
      </pc:sldChg>
      <pc:sldChg chg="del">
        <pc:chgData name="Connor Xu" userId="a2fa5610-7f85-41f8-9630-afc02cec4fa9" providerId="ADAL" clId="{EE18113F-3779-4A65-87D1-C584C28E733E}" dt="2024-09-02T06:23:00.723" v="220" actId="47"/>
        <pc:sldMkLst>
          <pc:docMk/>
          <pc:sldMk cId="801766341" sldId="2147471657"/>
        </pc:sldMkLst>
      </pc:sldChg>
      <pc:sldChg chg="del">
        <pc:chgData name="Connor Xu" userId="a2fa5610-7f85-41f8-9630-afc02cec4fa9" providerId="ADAL" clId="{EE18113F-3779-4A65-87D1-C584C28E733E}" dt="2024-09-02T06:23:00.707" v="219" actId="47"/>
        <pc:sldMkLst>
          <pc:docMk/>
          <pc:sldMk cId="2696922410" sldId="2147471658"/>
        </pc:sldMkLst>
      </pc:sldChg>
      <pc:sldChg chg="del">
        <pc:chgData name="Connor Xu" userId="a2fa5610-7f85-41f8-9630-afc02cec4fa9" providerId="ADAL" clId="{EE18113F-3779-4A65-87D1-C584C28E733E}" dt="2024-09-02T06:22:59.285" v="201" actId="47"/>
        <pc:sldMkLst>
          <pc:docMk/>
          <pc:sldMk cId="169381353" sldId="2147471659"/>
        </pc:sldMkLst>
      </pc:sldChg>
      <pc:sldChg chg="del">
        <pc:chgData name="Connor Xu" userId="a2fa5610-7f85-41f8-9630-afc02cec4fa9" providerId="ADAL" clId="{EE18113F-3779-4A65-87D1-C584C28E733E}" dt="2024-09-02T06:22:59.069" v="194" actId="47"/>
        <pc:sldMkLst>
          <pc:docMk/>
          <pc:sldMk cId="607860495" sldId="2147471660"/>
        </pc:sldMkLst>
      </pc:sldChg>
      <pc:sldChg chg="del">
        <pc:chgData name="Connor Xu" userId="a2fa5610-7f85-41f8-9630-afc02cec4fa9" providerId="ADAL" clId="{EE18113F-3779-4A65-87D1-C584C28E733E}" dt="2024-09-02T06:22:57.849" v="179" actId="47"/>
        <pc:sldMkLst>
          <pc:docMk/>
          <pc:sldMk cId="3293772026" sldId="2147471661"/>
        </pc:sldMkLst>
      </pc:sldChg>
      <pc:sldChg chg="del">
        <pc:chgData name="Connor Xu" userId="a2fa5610-7f85-41f8-9630-afc02cec4fa9" providerId="ADAL" clId="{EE18113F-3779-4A65-87D1-C584C28E733E}" dt="2024-09-02T06:23:01.493" v="232" actId="47"/>
        <pc:sldMkLst>
          <pc:docMk/>
          <pc:sldMk cId="3717749617" sldId="2147471662"/>
        </pc:sldMkLst>
      </pc:sldChg>
      <pc:sldChg chg="del">
        <pc:chgData name="Connor Xu" userId="a2fa5610-7f85-41f8-9630-afc02cec4fa9" providerId="ADAL" clId="{EE18113F-3779-4A65-87D1-C584C28E733E}" dt="2024-09-02T06:23:01.430" v="230" actId="47"/>
        <pc:sldMkLst>
          <pc:docMk/>
          <pc:sldMk cId="1695633560" sldId="2147471663"/>
        </pc:sldMkLst>
      </pc:sldChg>
      <pc:sldChg chg="del">
        <pc:chgData name="Connor Xu" userId="a2fa5610-7f85-41f8-9630-afc02cec4fa9" providerId="ADAL" clId="{EE18113F-3779-4A65-87D1-C584C28E733E}" dt="2024-09-02T06:23:01.408" v="229" actId="47"/>
        <pc:sldMkLst>
          <pc:docMk/>
          <pc:sldMk cId="2803719802" sldId="2147471664"/>
        </pc:sldMkLst>
      </pc:sldChg>
      <pc:sldChg chg="del">
        <pc:chgData name="Connor Xu" userId="a2fa5610-7f85-41f8-9630-afc02cec4fa9" providerId="ADAL" clId="{EE18113F-3779-4A65-87D1-C584C28E733E}" dt="2024-09-02T06:23:01.361" v="228" actId="47"/>
        <pc:sldMkLst>
          <pc:docMk/>
          <pc:sldMk cId="782303698" sldId="2147471665"/>
        </pc:sldMkLst>
      </pc:sldChg>
      <pc:sldChg chg="del">
        <pc:chgData name="Connor Xu" userId="a2fa5610-7f85-41f8-9630-afc02cec4fa9" providerId="ADAL" clId="{EE18113F-3779-4A65-87D1-C584C28E733E}" dt="2024-09-02T06:23:01.340" v="227" actId="47"/>
        <pc:sldMkLst>
          <pc:docMk/>
          <pc:sldMk cId="1549991173" sldId="2147471666"/>
        </pc:sldMkLst>
      </pc:sldChg>
      <pc:sldChg chg="del">
        <pc:chgData name="Connor Xu" userId="a2fa5610-7f85-41f8-9630-afc02cec4fa9" providerId="ADAL" clId="{EE18113F-3779-4A65-87D1-C584C28E733E}" dt="2024-09-02T06:23:01.315" v="226" actId="47"/>
        <pc:sldMkLst>
          <pc:docMk/>
          <pc:sldMk cId="3607155003" sldId="2147471667"/>
        </pc:sldMkLst>
      </pc:sldChg>
      <pc:sldChg chg="del">
        <pc:chgData name="Connor Xu" userId="a2fa5610-7f85-41f8-9630-afc02cec4fa9" providerId="ADAL" clId="{EE18113F-3779-4A65-87D1-C584C28E733E}" dt="2024-09-02T06:23:01.450" v="231" actId="47"/>
        <pc:sldMkLst>
          <pc:docMk/>
          <pc:sldMk cId="1717147813" sldId="2147471668"/>
        </pc:sldMkLst>
      </pc:sldChg>
      <pc:sldChg chg="del">
        <pc:chgData name="Connor Xu" userId="a2fa5610-7f85-41f8-9630-afc02cec4fa9" providerId="ADAL" clId="{EE18113F-3779-4A65-87D1-C584C28E733E}" dt="2024-09-02T06:23:00.568" v="214" actId="47"/>
        <pc:sldMkLst>
          <pc:docMk/>
          <pc:sldMk cId="3454642778" sldId="2147471669"/>
        </pc:sldMkLst>
      </pc:sldChg>
      <pc:sldChg chg="del">
        <pc:chgData name="Connor Xu" userId="a2fa5610-7f85-41f8-9630-afc02cec4fa9" providerId="ADAL" clId="{EE18113F-3779-4A65-87D1-C584C28E733E}" dt="2024-09-02T06:22:59.939" v="213" actId="47"/>
        <pc:sldMkLst>
          <pc:docMk/>
          <pc:sldMk cId="1150638039" sldId="2147471670"/>
        </pc:sldMkLst>
      </pc:sldChg>
      <pc:sldChg chg="del">
        <pc:chgData name="Connor Xu" userId="a2fa5610-7f85-41f8-9630-afc02cec4fa9" providerId="ADAL" clId="{EE18113F-3779-4A65-87D1-C584C28E733E}" dt="2024-09-02T06:22:59.651" v="212" actId="47"/>
        <pc:sldMkLst>
          <pc:docMk/>
          <pc:sldMk cId="504199463" sldId="2147471671"/>
        </pc:sldMkLst>
      </pc:sldChg>
      <pc:sldChg chg="del">
        <pc:chgData name="Connor Xu" userId="a2fa5610-7f85-41f8-9630-afc02cec4fa9" providerId="ADAL" clId="{EE18113F-3779-4A65-87D1-C584C28E733E}" dt="2024-09-02T06:22:59.603" v="210" actId="47"/>
        <pc:sldMkLst>
          <pc:docMk/>
          <pc:sldMk cId="1045485904" sldId="2147471672"/>
        </pc:sldMkLst>
      </pc:sldChg>
      <pc:sldChg chg="del">
        <pc:chgData name="Connor Xu" userId="a2fa5610-7f85-41f8-9630-afc02cec4fa9" providerId="ADAL" clId="{EE18113F-3779-4A65-87D1-C584C28E733E}" dt="2024-09-02T06:22:59.531" v="209" actId="47"/>
        <pc:sldMkLst>
          <pc:docMk/>
          <pc:sldMk cId="2007700489" sldId="2147471673"/>
        </pc:sldMkLst>
      </pc:sldChg>
      <pc:sldChg chg="del">
        <pc:chgData name="Connor Xu" userId="a2fa5610-7f85-41f8-9630-afc02cec4fa9" providerId="ADAL" clId="{EE18113F-3779-4A65-87D1-C584C28E733E}" dt="2024-09-02T06:22:59.439" v="206" actId="47"/>
        <pc:sldMkLst>
          <pc:docMk/>
          <pc:sldMk cId="3999141443" sldId="2147471674"/>
        </pc:sldMkLst>
      </pc:sldChg>
      <pc:sldChg chg="del">
        <pc:chgData name="Connor Xu" userId="a2fa5610-7f85-41f8-9630-afc02cec4fa9" providerId="ADAL" clId="{EE18113F-3779-4A65-87D1-C584C28E733E}" dt="2024-09-02T06:22:59.410" v="205" actId="47"/>
        <pc:sldMkLst>
          <pc:docMk/>
          <pc:sldMk cId="2235059398" sldId="2147471675"/>
        </pc:sldMkLst>
      </pc:sldChg>
      <pc:sldChg chg="del">
        <pc:chgData name="Connor Xu" userId="a2fa5610-7f85-41f8-9630-afc02cec4fa9" providerId="ADAL" clId="{EE18113F-3779-4A65-87D1-C584C28E733E}" dt="2024-09-02T06:22:57.654" v="173" actId="47"/>
        <pc:sldMkLst>
          <pc:docMk/>
          <pc:sldMk cId="2248024280" sldId="2147471676"/>
        </pc:sldMkLst>
      </pc:sldChg>
      <pc:sldChg chg="del">
        <pc:chgData name="Connor Xu" userId="a2fa5610-7f85-41f8-9630-afc02cec4fa9" providerId="ADAL" clId="{EE18113F-3779-4A65-87D1-C584C28E733E}" dt="2024-09-02T06:22:57.716" v="175" actId="47"/>
        <pc:sldMkLst>
          <pc:docMk/>
          <pc:sldMk cId="117569877" sldId="2147471677"/>
        </pc:sldMkLst>
      </pc:sldChg>
      <pc:sldChg chg="del">
        <pc:chgData name="Connor Xu" userId="a2fa5610-7f85-41f8-9630-afc02cec4fa9" providerId="ADAL" clId="{EE18113F-3779-4A65-87D1-C584C28E733E}" dt="2024-09-02T06:22:57.618" v="172" actId="47"/>
        <pc:sldMkLst>
          <pc:docMk/>
          <pc:sldMk cId="3154054699" sldId="2147471678"/>
        </pc:sldMkLst>
      </pc:sldChg>
      <pc:sldChg chg="del">
        <pc:chgData name="Connor Xu" userId="a2fa5610-7f85-41f8-9630-afc02cec4fa9" providerId="ADAL" clId="{EE18113F-3779-4A65-87D1-C584C28E733E}" dt="2024-09-02T06:22:57.594" v="171" actId="47"/>
        <pc:sldMkLst>
          <pc:docMk/>
          <pc:sldMk cId="1859976950" sldId="2147471679"/>
        </pc:sldMkLst>
      </pc:sldChg>
      <pc:sldChg chg="del">
        <pc:chgData name="Connor Xu" userId="a2fa5610-7f85-41f8-9630-afc02cec4fa9" providerId="ADAL" clId="{EE18113F-3779-4A65-87D1-C584C28E733E}" dt="2024-09-02T06:22:57.687" v="174" actId="47"/>
        <pc:sldMkLst>
          <pc:docMk/>
          <pc:sldMk cId="1951381099" sldId="2147471680"/>
        </pc:sldMkLst>
      </pc:sldChg>
      <pc:sldChg chg="del">
        <pc:chgData name="Connor Xu" userId="a2fa5610-7f85-41f8-9630-afc02cec4fa9" providerId="ADAL" clId="{EE18113F-3779-4A65-87D1-C584C28E733E}" dt="2024-09-02T06:22:57.815" v="178" actId="47"/>
        <pc:sldMkLst>
          <pc:docMk/>
          <pc:sldMk cId="317380609" sldId="2147471681"/>
        </pc:sldMkLst>
      </pc:sldChg>
      <pc:sldChg chg="del">
        <pc:chgData name="Connor Xu" userId="a2fa5610-7f85-41f8-9630-afc02cec4fa9" providerId="ADAL" clId="{EE18113F-3779-4A65-87D1-C584C28E733E}" dt="2024-09-02T06:22:59.380" v="204" actId="47"/>
        <pc:sldMkLst>
          <pc:docMk/>
          <pc:sldMk cId="2642691466" sldId="2147471682"/>
        </pc:sldMkLst>
      </pc:sldChg>
      <pc:sldChg chg="del">
        <pc:chgData name="Connor Xu" userId="a2fa5610-7f85-41f8-9630-afc02cec4fa9" providerId="ADAL" clId="{EE18113F-3779-4A65-87D1-C584C28E733E}" dt="2024-09-02T06:22:59.353" v="203" actId="47"/>
        <pc:sldMkLst>
          <pc:docMk/>
          <pc:sldMk cId="3513574442" sldId="2147471683"/>
        </pc:sldMkLst>
      </pc:sldChg>
      <pc:sldChg chg="del">
        <pc:chgData name="Connor Xu" userId="a2fa5610-7f85-41f8-9630-afc02cec4fa9" providerId="ADAL" clId="{EE18113F-3779-4A65-87D1-C584C28E733E}" dt="2024-09-02T06:22:59.322" v="202" actId="47"/>
        <pc:sldMkLst>
          <pc:docMk/>
          <pc:sldMk cId="2085506671" sldId="2147471684"/>
        </pc:sldMkLst>
      </pc:sldChg>
      <pc:sldChg chg="del">
        <pc:chgData name="Connor Xu" userId="a2fa5610-7f85-41f8-9630-afc02cec4fa9" providerId="ADAL" clId="{EE18113F-3779-4A65-87D1-C584C28E733E}" dt="2024-09-02T06:22:59.218" v="199" actId="47"/>
        <pc:sldMkLst>
          <pc:docMk/>
          <pc:sldMk cId="1580791421" sldId="2147471685"/>
        </pc:sldMkLst>
      </pc:sldChg>
      <pc:sldChg chg="del">
        <pc:chgData name="Connor Xu" userId="a2fa5610-7f85-41f8-9630-afc02cec4fa9" providerId="ADAL" clId="{EE18113F-3779-4A65-87D1-C584C28E733E}" dt="2024-09-02T06:22:59.202" v="198" actId="47"/>
        <pc:sldMkLst>
          <pc:docMk/>
          <pc:sldMk cId="2810992890" sldId="2147471686"/>
        </pc:sldMkLst>
      </pc:sldChg>
      <pc:sldChg chg="del">
        <pc:chgData name="Connor Xu" userId="a2fa5610-7f85-41f8-9630-afc02cec4fa9" providerId="ADAL" clId="{EE18113F-3779-4A65-87D1-C584C28E733E}" dt="2024-09-02T06:22:59.178" v="197" actId="47"/>
        <pc:sldMkLst>
          <pc:docMk/>
          <pc:sldMk cId="1161934176" sldId="2147471687"/>
        </pc:sldMkLst>
      </pc:sldChg>
      <pc:sldChg chg="del">
        <pc:chgData name="Connor Xu" userId="a2fa5610-7f85-41f8-9630-afc02cec4fa9" providerId="ADAL" clId="{EE18113F-3779-4A65-87D1-C584C28E733E}" dt="2024-09-02T06:22:59.150" v="196" actId="47"/>
        <pc:sldMkLst>
          <pc:docMk/>
          <pc:sldMk cId="1442934920" sldId="2147471688"/>
        </pc:sldMkLst>
      </pc:sldChg>
      <pc:sldChg chg="del">
        <pc:chgData name="Connor Xu" userId="a2fa5610-7f85-41f8-9630-afc02cec4fa9" providerId="ADAL" clId="{EE18113F-3779-4A65-87D1-C584C28E733E}" dt="2024-09-02T06:22:58.902" v="188" actId="47"/>
        <pc:sldMkLst>
          <pc:docMk/>
          <pc:sldMk cId="529242565" sldId="2147471689"/>
        </pc:sldMkLst>
      </pc:sldChg>
      <pc:sldChg chg="del">
        <pc:chgData name="Connor Xu" userId="a2fa5610-7f85-41f8-9630-afc02cec4fa9" providerId="ADAL" clId="{EE18113F-3779-4A65-87D1-C584C28E733E}" dt="2024-09-02T06:22:57.975" v="182" actId="47"/>
        <pc:sldMkLst>
          <pc:docMk/>
          <pc:sldMk cId="1536752548" sldId="2147471690"/>
        </pc:sldMkLst>
      </pc:sldChg>
      <pc:sldChg chg="del">
        <pc:chgData name="Connor Xu" userId="a2fa5610-7f85-41f8-9630-afc02cec4fa9" providerId="ADAL" clId="{EE18113F-3779-4A65-87D1-C584C28E733E}" dt="2024-09-02T06:22:59.087" v="195" actId="47"/>
        <pc:sldMkLst>
          <pc:docMk/>
          <pc:sldMk cId="3876904478" sldId="2147471691"/>
        </pc:sldMkLst>
      </pc:sldChg>
      <pc:sldChg chg="del">
        <pc:chgData name="Connor Xu" userId="a2fa5610-7f85-41f8-9630-afc02cec4fa9" providerId="ADAL" clId="{EE18113F-3779-4A65-87D1-C584C28E733E}" dt="2024-09-02T06:22:58.999" v="192" actId="47"/>
        <pc:sldMkLst>
          <pc:docMk/>
          <pc:sldMk cId="2828822903" sldId="2147471692"/>
        </pc:sldMkLst>
      </pc:sldChg>
      <pc:sldChg chg="del">
        <pc:chgData name="Connor Xu" userId="a2fa5610-7f85-41f8-9630-afc02cec4fa9" providerId="ADAL" clId="{EE18113F-3779-4A65-87D1-C584C28E733E}" dt="2024-09-02T06:22:58.980" v="191" actId="47"/>
        <pc:sldMkLst>
          <pc:docMk/>
          <pc:sldMk cId="885697743" sldId="2147471693"/>
        </pc:sldMkLst>
      </pc:sldChg>
      <pc:sldChg chg="del">
        <pc:chgData name="Connor Xu" userId="a2fa5610-7f85-41f8-9630-afc02cec4fa9" providerId="ADAL" clId="{EE18113F-3779-4A65-87D1-C584C28E733E}" dt="2024-09-02T06:22:58.952" v="190" actId="47"/>
        <pc:sldMkLst>
          <pc:docMk/>
          <pc:sldMk cId="1336010786" sldId="2147471694"/>
        </pc:sldMkLst>
      </pc:sldChg>
      <pc:sldChg chg="del">
        <pc:chgData name="Connor Xu" userId="a2fa5610-7f85-41f8-9630-afc02cec4fa9" providerId="ADAL" clId="{EE18113F-3779-4A65-87D1-C584C28E733E}" dt="2024-09-02T06:22:58.927" v="189" actId="47"/>
        <pc:sldMkLst>
          <pc:docMk/>
          <pc:sldMk cId="3336939340" sldId="2147471695"/>
        </pc:sldMkLst>
      </pc:sldChg>
      <pc:sldChg chg="del">
        <pc:chgData name="Connor Xu" userId="a2fa5610-7f85-41f8-9630-afc02cec4fa9" providerId="ADAL" clId="{EE18113F-3779-4A65-87D1-C584C28E733E}" dt="2024-09-02T06:22:58.772" v="185" actId="47"/>
        <pc:sldMkLst>
          <pc:docMk/>
          <pc:sldMk cId="2464139924" sldId="2147471697"/>
        </pc:sldMkLst>
      </pc:sldChg>
      <pc:sldChg chg="del">
        <pc:chgData name="Connor Xu" userId="a2fa5610-7f85-41f8-9630-afc02cec4fa9" providerId="ADAL" clId="{EE18113F-3779-4A65-87D1-C584C28E733E}" dt="2024-09-02T06:22:58.274" v="184" actId="47"/>
        <pc:sldMkLst>
          <pc:docMk/>
          <pc:sldMk cId="1885421300" sldId="2147471698"/>
        </pc:sldMkLst>
      </pc:sldChg>
      <pc:sldChg chg="del">
        <pc:chgData name="Connor Xu" userId="a2fa5610-7f85-41f8-9630-afc02cec4fa9" providerId="ADAL" clId="{EE18113F-3779-4A65-87D1-C584C28E733E}" dt="2024-09-02T06:22:58.006" v="183" actId="47"/>
        <pc:sldMkLst>
          <pc:docMk/>
          <pc:sldMk cId="1543594696" sldId="2147471699"/>
        </pc:sldMkLst>
      </pc:sldChg>
      <pc:sldChg chg="del">
        <pc:chgData name="Connor Xu" userId="a2fa5610-7f85-41f8-9630-afc02cec4fa9" providerId="ADAL" clId="{EE18113F-3779-4A65-87D1-C584C28E733E}" dt="2024-09-02T06:22:57.897" v="181" actId="47"/>
        <pc:sldMkLst>
          <pc:docMk/>
          <pc:sldMk cId="3050277897" sldId="2147471700"/>
        </pc:sldMkLst>
      </pc:sldChg>
      <pc:sldChg chg="del">
        <pc:chgData name="Connor Xu" userId="a2fa5610-7f85-41f8-9630-afc02cec4fa9" providerId="ADAL" clId="{EE18113F-3779-4A65-87D1-C584C28E733E}" dt="2024-09-02T06:22:57.878" v="180" actId="47"/>
        <pc:sldMkLst>
          <pc:docMk/>
          <pc:sldMk cId="188128769" sldId="2147471701"/>
        </pc:sldMkLst>
      </pc:sldChg>
      <pc:sldChg chg="add del">
        <pc:chgData name="Connor Xu" userId="a2fa5610-7f85-41f8-9630-afc02cec4fa9" providerId="ADAL" clId="{EE18113F-3779-4A65-87D1-C584C28E733E}" dt="2024-09-02T06:11:15.868" v="49" actId="47"/>
        <pc:sldMkLst>
          <pc:docMk/>
          <pc:sldMk cId="1804463549" sldId="2147471702"/>
        </pc:sldMkLst>
      </pc:sldChg>
      <pc:sldChg chg="add del">
        <pc:chgData name="Connor Xu" userId="a2fa5610-7f85-41f8-9630-afc02cec4fa9" providerId="ADAL" clId="{EE18113F-3779-4A65-87D1-C584C28E733E}" dt="2024-09-02T06:11:15.868" v="49" actId="47"/>
        <pc:sldMkLst>
          <pc:docMk/>
          <pc:sldMk cId="2490397139" sldId="2147471703"/>
        </pc:sldMkLst>
      </pc:sldChg>
      <pc:sldChg chg="add del ord">
        <pc:chgData name="Connor Xu" userId="a2fa5610-7f85-41f8-9630-afc02cec4fa9" providerId="ADAL" clId="{EE18113F-3779-4A65-87D1-C584C28E733E}" dt="2024-09-02T06:22:54.543" v="134" actId="47"/>
        <pc:sldMkLst>
          <pc:docMk/>
          <pc:sldMk cId="605729638" sldId="2147471704"/>
        </pc:sldMkLst>
      </pc:sldChg>
      <pc:sldChg chg="add del">
        <pc:chgData name="Connor Xu" userId="a2fa5610-7f85-41f8-9630-afc02cec4fa9" providerId="ADAL" clId="{EE18113F-3779-4A65-87D1-C584C28E733E}" dt="2024-09-02T06:27:27.845" v="262" actId="47"/>
        <pc:sldMkLst>
          <pc:docMk/>
          <pc:sldMk cId="2417902668" sldId="2147471705"/>
        </pc:sldMkLst>
      </pc:sldChg>
      <pc:sldChg chg="add del">
        <pc:chgData name="Connor Xu" userId="a2fa5610-7f85-41f8-9630-afc02cec4fa9" providerId="ADAL" clId="{EE18113F-3779-4A65-87D1-C584C28E733E}" dt="2024-09-02T06:23:05.222" v="251" actId="47"/>
        <pc:sldMkLst>
          <pc:docMk/>
          <pc:sldMk cId="3816600072" sldId="2147471706"/>
        </pc:sldMkLst>
      </pc:sldChg>
      <pc:sldChg chg="add del">
        <pc:chgData name="Connor Xu" userId="a2fa5610-7f85-41f8-9630-afc02cec4fa9" providerId="ADAL" clId="{EE18113F-3779-4A65-87D1-C584C28E733E}" dt="2024-09-02T06:23:04.440" v="250" actId="47"/>
        <pc:sldMkLst>
          <pc:docMk/>
          <pc:sldMk cId="776219425" sldId="2147471707"/>
        </pc:sldMkLst>
      </pc:sldChg>
      <pc:sldChg chg="add del">
        <pc:chgData name="Connor Xu" userId="a2fa5610-7f85-41f8-9630-afc02cec4fa9" providerId="ADAL" clId="{EE18113F-3779-4A65-87D1-C584C28E733E}" dt="2024-09-02T06:23:04.317" v="249" actId="47"/>
        <pc:sldMkLst>
          <pc:docMk/>
          <pc:sldMk cId="2001695638" sldId="2147471708"/>
        </pc:sldMkLst>
      </pc:sldChg>
      <pc:sldChg chg="add del">
        <pc:chgData name="Connor Xu" userId="a2fa5610-7f85-41f8-9630-afc02cec4fa9" providerId="ADAL" clId="{EE18113F-3779-4A65-87D1-C584C28E733E}" dt="2024-09-02T06:23:04.293" v="248" actId="47"/>
        <pc:sldMkLst>
          <pc:docMk/>
          <pc:sldMk cId="1649361447" sldId="2147471709"/>
        </pc:sldMkLst>
      </pc:sldChg>
      <pc:sldChg chg="add del">
        <pc:chgData name="Connor Xu" userId="a2fa5610-7f85-41f8-9630-afc02cec4fa9" providerId="ADAL" clId="{EE18113F-3779-4A65-87D1-C584C28E733E}" dt="2024-09-02T06:23:03.886" v="247" actId="47"/>
        <pc:sldMkLst>
          <pc:docMk/>
          <pc:sldMk cId="2140167594" sldId="2147471710"/>
        </pc:sldMkLst>
      </pc:sldChg>
      <pc:sldChg chg="add del">
        <pc:chgData name="Connor Xu" userId="a2fa5610-7f85-41f8-9630-afc02cec4fa9" providerId="ADAL" clId="{EE18113F-3779-4A65-87D1-C584C28E733E}" dt="2024-09-02T06:12:29.828" v="125" actId="47"/>
        <pc:sldMkLst>
          <pc:docMk/>
          <pc:sldMk cId="60237424" sldId="2147471711"/>
        </pc:sldMkLst>
      </pc:sldChg>
      <pc:sldChg chg="add del">
        <pc:chgData name="Connor Xu" userId="a2fa5610-7f85-41f8-9630-afc02cec4fa9" providerId="ADAL" clId="{EE18113F-3779-4A65-87D1-C584C28E733E}" dt="2024-09-02T06:11:08.850" v="48" actId="47"/>
        <pc:sldMkLst>
          <pc:docMk/>
          <pc:sldMk cId="715204403" sldId="2147471711"/>
        </pc:sldMkLst>
      </pc:sldChg>
      <pc:sldChg chg="add del">
        <pc:chgData name="Connor Xu" userId="a2fa5610-7f85-41f8-9630-afc02cec4fa9" providerId="ADAL" clId="{EE18113F-3779-4A65-87D1-C584C28E733E}" dt="2024-09-02T06:10:58.398" v="46"/>
        <pc:sldMkLst>
          <pc:docMk/>
          <pc:sldMk cId="3762877494" sldId="2147471711"/>
        </pc:sldMkLst>
      </pc:sldChg>
      <pc:sldChg chg="add del">
        <pc:chgData name="Connor Xu" userId="a2fa5610-7f85-41f8-9630-afc02cec4fa9" providerId="ADAL" clId="{EE18113F-3779-4A65-87D1-C584C28E733E}" dt="2024-09-02T06:10:53.736" v="41"/>
        <pc:sldMkLst>
          <pc:docMk/>
          <pc:sldMk cId="753442791" sldId="2147471712"/>
        </pc:sldMkLst>
      </pc:sldChg>
      <pc:sldChg chg="modSp add mod">
        <pc:chgData name="Connor Xu" userId="a2fa5610-7f85-41f8-9630-afc02cec4fa9" providerId="ADAL" clId="{EE18113F-3779-4A65-87D1-C584C28E733E}" dt="2024-09-02T06:12:27.590" v="124" actId="20577"/>
        <pc:sldMkLst>
          <pc:docMk/>
          <pc:sldMk cId="2109793814" sldId="2147471712"/>
        </pc:sldMkLst>
        <pc:spChg chg="mod">
          <ac:chgData name="Connor Xu" userId="a2fa5610-7f85-41f8-9630-afc02cec4fa9" providerId="ADAL" clId="{EE18113F-3779-4A65-87D1-C584C28E733E}" dt="2024-09-02T06:12:27.590" v="124" actId="20577"/>
          <ac:spMkLst>
            <pc:docMk/>
            <pc:sldMk cId="2109793814" sldId="2147471712"/>
            <ac:spMk id="2" creationId="{3C42A615-E19E-F1ED-CA05-77A2773C1430}"/>
          </ac:spMkLst>
        </pc:spChg>
      </pc:sldChg>
      <pc:sldChg chg="add del">
        <pc:chgData name="Connor Xu" userId="a2fa5610-7f85-41f8-9630-afc02cec4fa9" providerId="ADAL" clId="{EE18113F-3779-4A65-87D1-C584C28E733E}" dt="2024-09-02T06:10:55.807" v="43"/>
        <pc:sldMkLst>
          <pc:docMk/>
          <pc:sldMk cId="3768546874" sldId="2147471712"/>
        </pc:sldMkLst>
      </pc:sldChg>
      <pc:sldChg chg="add del">
        <pc:chgData name="Connor Xu" userId="a2fa5610-7f85-41f8-9630-afc02cec4fa9" providerId="ADAL" clId="{EE18113F-3779-4A65-87D1-C584C28E733E}" dt="2024-09-02T06:14:03.160" v="130"/>
        <pc:sldMkLst>
          <pc:docMk/>
          <pc:sldMk cId="120604489" sldId="2147471713"/>
        </pc:sldMkLst>
      </pc:sldChg>
      <pc:sldChg chg="del">
        <pc:chgData name="Connor Xu" userId="a2fa5610-7f85-41f8-9630-afc02cec4fa9" providerId="ADAL" clId="{EE18113F-3779-4A65-87D1-C584C28E733E}" dt="2024-09-02T06:13:57.923" v="128"/>
        <pc:sldMkLst>
          <pc:docMk/>
          <pc:sldMk cId="635142494" sldId="2147471713"/>
        </pc:sldMkLst>
      </pc:sldChg>
      <pc:sldChg chg="modSp add mod">
        <pc:chgData name="Connor Xu" userId="a2fa5610-7f85-41f8-9630-afc02cec4fa9" providerId="ADAL" clId="{EE18113F-3779-4A65-87D1-C584C28E733E}" dt="2024-09-02T06:14:22.327" v="132" actId="1076"/>
        <pc:sldMkLst>
          <pc:docMk/>
          <pc:sldMk cId="1934279466" sldId="2147471713"/>
        </pc:sldMkLst>
        <pc:spChg chg="mod">
          <ac:chgData name="Connor Xu" userId="a2fa5610-7f85-41f8-9630-afc02cec4fa9" providerId="ADAL" clId="{EE18113F-3779-4A65-87D1-C584C28E733E}" dt="2024-09-02T06:14:22.327" v="132" actId="1076"/>
          <ac:spMkLst>
            <pc:docMk/>
            <pc:sldMk cId="1934279466" sldId="2147471713"/>
            <ac:spMk id="5" creationId="{F64A6E85-BECE-C17C-E08C-F9587F8DA8DD}"/>
          </ac:spMkLst>
        </pc:spChg>
      </pc:sldChg>
      <pc:sldChg chg="add del">
        <pc:chgData name="Connor Xu" userId="a2fa5610-7f85-41f8-9630-afc02cec4fa9" providerId="ADAL" clId="{EE18113F-3779-4A65-87D1-C584C28E733E}" dt="2024-09-02T06:13:49.934" v="127"/>
        <pc:sldMkLst>
          <pc:docMk/>
          <pc:sldMk cId="3846586942" sldId="2147471713"/>
        </pc:sldMkLst>
      </pc:sldChg>
      <pc:sldChg chg="add del">
        <pc:chgData name="Connor Xu" userId="a2fa5610-7f85-41f8-9630-afc02cec4fa9" providerId="ADAL" clId="{EE18113F-3779-4A65-87D1-C584C28E733E}" dt="2024-09-02T06:14:03.160" v="130"/>
        <pc:sldMkLst>
          <pc:docMk/>
          <pc:sldMk cId="12349631" sldId="2147471714"/>
        </pc:sldMkLst>
      </pc:sldChg>
      <pc:sldChg chg="del">
        <pc:chgData name="Connor Xu" userId="a2fa5610-7f85-41f8-9630-afc02cec4fa9" providerId="ADAL" clId="{EE18113F-3779-4A65-87D1-C584C28E733E}" dt="2024-09-02T06:13:57.923" v="128"/>
        <pc:sldMkLst>
          <pc:docMk/>
          <pc:sldMk cId="1294451456" sldId="2147471714"/>
        </pc:sldMkLst>
      </pc:sldChg>
      <pc:sldChg chg="add del">
        <pc:chgData name="Connor Xu" userId="a2fa5610-7f85-41f8-9630-afc02cec4fa9" providerId="ADAL" clId="{EE18113F-3779-4A65-87D1-C584C28E733E}" dt="2024-09-02T06:13:49.934" v="127"/>
        <pc:sldMkLst>
          <pc:docMk/>
          <pc:sldMk cId="2349457672" sldId="2147471714"/>
        </pc:sldMkLst>
      </pc:sldChg>
      <pc:sldChg chg="add del">
        <pc:chgData name="Connor Xu" userId="a2fa5610-7f85-41f8-9630-afc02cec4fa9" providerId="ADAL" clId="{EE18113F-3779-4A65-87D1-C584C28E733E}" dt="2024-09-02T06:14:03.160" v="130"/>
        <pc:sldMkLst>
          <pc:docMk/>
          <pc:sldMk cId="469060526" sldId="2147471715"/>
        </pc:sldMkLst>
      </pc:sldChg>
      <pc:sldChg chg="del">
        <pc:chgData name="Connor Xu" userId="a2fa5610-7f85-41f8-9630-afc02cec4fa9" providerId="ADAL" clId="{EE18113F-3779-4A65-87D1-C584C28E733E}" dt="2024-09-02T06:13:57.923" v="128"/>
        <pc:sldMkLst>
          <pc:docMk/>
          <pc:sldMk cId="578536408" sldId="2147471715"/>
        </pc:sldMkLst>
      </pc:sldChg>
      <pc:sldChg chg="add del">
        <pc:chgData name="Connor Xu" userId="a2fa5610-7f85-41f8-9630-afc02cec4fa9" providerId="ADAL" clId="{EE18113F-3779-4A65-87D1-C584C28E733E}" dt="2024-09-02T06:13:49.934" v="127"/>
        <pc:sldMkLst>
          <pc:docMk/>
          <pc:sldMk cId="3811135372" sldId="2147471715"/>
        </pc:sldMkLst>
      </pc:sldChg>
      <pc:sldMasterChg chg="delSldLayout">
        <pc:chgData name="Connor Xu" userId="a2fa5610-7f85-41f8-9630-afc02cec4fa9" providerId="ADAL" clId="{EE18113F-3779-4A65-87D1-C584C28E733E}" dt="2024-09-02T06:27:46.713" v="263" actId="47"/>
        <pc:sldMasterMkLst>
          <pc:docMk/>
          <pc:sldMasterMk cId="3713331802" sldId="2147483670"/>
        </pc:sldMasterMkLst>
        <pc:sldLayoutChg chg="del">
          <pc:chgData name="Connor Xu" userId="a2fa5610-7f85-41f8-9630-afc02cec4fa9" providerId="ADAL" clId="{EE18113F-3779-4A65-87D1-C584C28E733E}" dt="2024-09-02T06:11:15.868" v="49" actId="47"/>
          <pc:sldLayoutMkLst>
            <pc:docMk/>
            <pc:sldMasterMk cId="3713331802" sldId="2147483670"/>
            <pc:sldLayoutMk cId="2133319720" sldId="2147483802"/>
          </pc:sldLayoutMkLst>
        </pc:sldLayoutChg>
        <pc:sldLayoutChg chg="del">
          <pc:chgData name="Connor Xu" userId="a2fa5610-7f85-41f8-9630-afc02cec4fa9" providerId="ADAL" clId="{EE18113F-3779-4A65-87D1-C584C28E733E}" dt="2024-09-02T06:23:18.977" v="254" actId="47"/>
          <pc:sldLayoutMkLst>
            <pc:docMk/>
            <pc:sldMasterMk cId="3713331802" sldId="2147483670"/>
            <pc:sldLayoutMk cId="3181697041" sldId="2147483803"/>
          </pc:sldLayoutMkLst>
        </pc:sldLayoutChg>
        <pc:sldLayoutChg chg="del">
          <pc:chgData name="Connor Xu" userId="a2fa5610-7f85-41f8-9630-afc02cec4fa9" providerId="ADAL" clId="{EE18113F-3779-4A65-87D1-C584C28E733E}" dt="2024-09-02T06:27:46.713" v="263" actId="47"/>
          <pc:sldLayoutMkLst>
            <pc:docMk/>
            <pc:sldMasterMk cId="3713331802" sldId="2147483670"/>
            <pc:sldLayoutMk cId="4037672443" sldId="2147483807"/>
          </pc:sldLayoutMkLst>
        </pc:sldLayoutChg>
        <pc:sldLayoutChg chg="del">
          <pc:chgData name="Connor Xu" userId="a2fa5610-7f85-41f8-9630-afc02cec4fa9" providerId="ADAL" clId="{EE18113F-3779-4A65-87D1-C584C28E733E}" dt="2024-09-02T06:23:04.440" v="250" actId="47"/>
          <pc:sldLayoutMkLst>
            <pc:docMk/>
            <pc:sldMasterMk cId="3713331802" sldId="2147483670"/>
            <pc:sldLayoutMk cId="2922988896" sldId="2147483808"/>
          </pc:sldLayoutMkLst>
        </pc:sldLayoutChg>
      </pc:sldMasterChg>
    </pc:docChg>
  </pc:docChgLst>
  <pc:docChgLst>
    <pc:chgData name="Helena Worthington (DTF)" userId="872c2340-4a31-4883-b18d-67548b3a9bcd" providerId="ADAL" clId="{7B14604A-590F-4FE8-9AB2-E9E8B6A7C231}"/>
    <pc:docChg chg="modSld">
      <pc:chgData name="Helena Worthington (DTF)" userId="872c2340-4a31-4883-b18d-67548b3a9bcd" providerId="ADAL" clId="{7B14604A-590F-4FE8-9AB2-E9E8B6A7C231}" dt="2024-10-28T00:56:25.562" v="0" actId="20577"/>
      <pc:docMkLst>
        <pc:docMk/>
      </pc:docMkLst>
      <pc:sldChg chg="modSp mod">
        <pc:chgData name="Helena Worthington (DTF)" userId="872c2340-4a31-4883-b18d-67548b3a9bcd" providerId="ADAL" clId="{7B14604A-590F-4FE8-9AB2-E9E8B6A7C231}" dt="2024-10-28T00:56:25.562" v="0" actId="20577"/>
        <pc:sldMkLst>
          <pc:docMk/>
          <pc:sldMk cId="806101404" sldId="2147471590"/>
        </pc:sldMkLst>
        <pc:spChg chg="mod">
          <ac:chgData name="Helena Worthington (DTF)" userId="872c2340-4a31-4883-b18d-67548b3a9bcd" providerId="ADAL" clId="{7B14604A-590F-4FE8-9AB2-E9E8B6A7C231}" dt="2024-10-28T00:56:25.562" v="0" actId="20577"/>
          <ac:spMkLst>
            <pc:docMk/>
            <pc:sldMk cId="806101404" sldId="2147471590"/>
            <ac:spMk id="29" creationId="{2CD2714C-41C8-65F4-01D2-A1F2353866B7}"/>
          </ac:spMkLst>
        </pc:spChg>
      </pc:sldChg>
    </pc:docChg>
  </pc:docChgLst>
  <pc:docChgLst>
    <pc:chgData name="Jackson Quinn" userId="f4787004-1b70-4f1d-97ed-cc65f8b67785" providerId="ADAL" clId="{A7754C7A-B49C-43C7-B4A1-1E3FAE621ACD}"/>
    <pc:docChg chg="addSld delSld modSld delSection modSection">
      <pc:chgData name="Jackson Quinn" userId="f4787004-1b70-4f1d-97ed-cc65f8b67785" providerId="ADAL" clId="{A7754C7A-B49C-43C7-B4A1-1E3FAE621ACD}" dt="2024-09-20T07:04:00.216" v="62" actId="164"/>
      <pc:docMkLst>
        <pc:docMk/>
      </pc:docMkLst>
      <pc:sldChg chg="del">
        <pc:chgData name="Jackson Quinn" userId="f4787004-1b70-4f1d-97ed-cc65f8b67785" providerId="ADAL" clId="{A7754C7A-B49C-43C7-B4A1-1E3FAE621ACD}" dt="2024-09-20T04:03:40.268" v="45" actId="2696"/>
        <pc:sldMkLst>
          <pc:docMk/>
          <pc:sldMk cId="2083619045" sldId="2147471602"/>
        </pc:sldMkLst>
      </pc:sldChg>
      <pc:sldChg chg="modSp mod">
        <pc:chgData name="Jackson Quinn" userId="f4787004-1b70-4f1d-97ed-cc65f8b67785" providerId="ADAL" clId="{A7754C7A-B49C-43C7-B4A1-1E3FAE621ACD}" dt="2024-09-20T04:04:21.107" v="61" actId="14100"/>
        <pc:sldMkLst>
          <pc:docMk/>
          <pc:sldMk cId="2887098628" sldId="2147471648"/>
        </pc:sldMkLst>
        <pc:spChg chg="mod">
          <ac:chgData name="Jackson Quinn" userId="f4787004-1b70-4f1d-97ed-cc65f8b67785" providerId="ADAL" clId="{A7754C7A-B49C-43C7-B4A1-1E3FAE621ACD}" dt="2024-09-20T04:04:21.107" v="61" actId="14100"/>
          <ac:spMkLst>
            <pc:docMk/>
            <pc:sldMk cId="2887098628" sldId="2147471648"/>
            <ac:spMk id="3" creationId="{80CE8119-45A9-B497-B743-3798888405B8}"/>
          </ac:spMkLst>
        </pc:spChg>
        <pc:spChg chg="mod">
          <ac:chgData name="Jackson Quinn" userId="f4787004-1b70-4f1d-97ed-cc65f8b67785" providerId="ADAL" clId="{A7754C7A-B49C-43C7-B4A1-1E3FAE621ACD}" dt="2024-09-20T04:01:52.177" v="1" actId="14100"/>
          <ac:spMkLst>
            <pc:docMk/>
            <pc:sldMk cId="2887098628" sldId="2147471648"/>
            <ac:spMk id="5" creationId="{414FB662-191A-6AE4-B396-41A4E291EEB6}"/>
          </ac:spMkLst>
        </pc:spChg>
        <pc:spChg chg="mod">
          <ac:chgData name="Jackson Quinn" userId="f4787004-1b70-4f1d-97ed-cc65f8b67785" providerId="ADAL" clId="{A7754C7A-B49C-43C7-B4A1-1E3FAE621ACD}" dt="2024-09-20T04:01:52.177" v="1" actId="14100"/>
          <ac:spMkLst>
            <pc:docMk/>
            <pc:sldMk cId="2887098628" sldId="2147471648"/>
            <ac:spMk id="24" creationId="{A68786C5-0F08-67B4-EF2E-B2FD83DED675}"/>
          </ac:spMkLst>
        </pc:spChg>
      </pc:sldChg>
      <pc:sldChg chg="addSp modSp">
        <pc:chgData name="Jackson Quinn" userId="f4787004-1b70-4f1d-97ed-cc65f8b67785" providerId="ADAL" clId="{A7754C7A-B49C-43C7-B4A1-1E3FAE621ACD}" dt="2024-09-20T07:04:00.216" v="62" actId="164"/>
        <pc:sldMkLst>
          <pc:docMk/>
          <pc:sldMk cId="3274022134" sldId="2147471656"/>
        </pc:sldMkLst>
        <pc:spChg chg="mod">
          <ac:chgData name="Jackson Quinn" userId="f4787004-1b70-4f1d-97ed-cc65f8b67785" providerId="ADAL" clId="{A7754C7A-B49C-43C7-B4A1-1E3FAE621ACD}" dt="2024-09-20T07:04:00.216" v="62" actId="164"/>
          <ac:spMkLst>
            <pc:docMk/>
            <pc:sldMk cId="3274022134" sldId="2147471656"/>
            <ac:spMk id="11" creationId="{3A4F6423-A6D9-DE9E-124A-D0D2D557C843}"/>
          </ac:spMkLst>
        </pc:spChg>
        <pc:spChg chg="mod">
          <ac:chgData name="Jackson Quinn" userId="f4787004-1b70-4f1d-97ed-cc65f8b67785" providerId="ADAL" clId="{A7754C7A-B49C-43C7-B4A1-1E3FAE621ACD}" dt="2024-09-20T07:04:00.216" v="62" actId="164"/>
          <ac:spMkLst>
            <pc:docMk/>
            <pc:sldMk cId="3274022134" sldId="2147471656"/>
            <ac:spMk id="12" creationId="{FB5D171E-152C-37C5-B9B6-F9095392E681}"/>
          </ac:spMkLst>
        </pc:spChg>
        <pc:spChg chg="mod">
          <ac:chgData name="Jackson Quinn" userId="f4787004-1b70-4f1d-97ed-cc65f8b67785" providerId="ADAL" clId="{A7754C7A-B49C-43C7-B4A1-1E3FAE621ACD}" dt="2024-09-20T07:04:00.216" v="62" actId="164"/>
          <ac:spMkLst>
            <pc:docMk/>
            <pc:sldMk cId="3274022134" sldId="2147471656"/>
            <ac:spMk id="13" creationId="{20EC2ED1-1B6D-35EF-B9CE-C2846F6BAC49}"/>
          </ac:spMkLst>
        </pc:spChg>
        <pc:spChg chg="mod">
          <ac:chgData name="Jackson Quinn" userId="f4787004-1b70-4f1d-97ed-cc65f8b67785" providerId="ADAL" clId="{A7754C7A-B49C-43C7-B4A1-1E3FAE621ACD}" dt="2024-09-20T07:04:00.216" v="62" actId="164"/>
          <ac:spMkLst>
            <pc:docMk/>
            <pc:sldMk cId="3274022134" sldId="2147471656"/>
            <ac:spMk id="34" creationId="{E7A62575-D141-CCE1-DD8B-234B0180E6AB}"/>
          </ac:spMkLst>
        </pc:spChg>
        <pc:spChg chg="mod">
          <ac:chgData name="Jackson Quinn" userId="f4787004-1b70-4f1d-97ed-cc65f8b67785" providerId="ADAL" clId="{A7754C7A-B49C-43C7-B4A1-1E3FAE621ACD}" dt="2024-09-20T07:04:00.216" v="62" actId="164"/>
          <ac:spMkLst>
            <pc:docMk/>
            <pc:sldMk cId="3274022134" sldId="2147471656"/>
            <ac:spMk id="35" creationId="{B59FEA33-8FAA-0F8E-C4EB-CE0A4CDA3E3D}"/>
          </ac:spMkLst>
        </pc:spChg>
        <pc:spChg chg="mod">
          <ac:chgData name="Jackson Quinn" userId="f4787004-1b70-4f1d-97ed-cc65f8b67785" providerId="ADAL" clId="{A7754C7A-B49C-43C7-B4A1-1E3FAE621ACD}" dt="2024-09-20T07:04:00.216" v="62" actId="164"/>
          <ac:spMkLst>
            <pc:docMk/>
            <pc:sldMk cId="3274022134" sldId="2147471656"/>
            <ac:spMk id="36" creationId="{7DE378FA-7E4C-12D4-713A-2EB2BDB2B977}"/>
          </ac:spMkLst>
        </pc:spChg>
        <pc:spChg chg="mod">
          <ac:chgData name="Jackson Quinn" userId="f4787004-1b70-4f1d-97ed-cc65f8b67785" providerId="ADAL" clId="{A7754C7A-B49C-43C7-B4A1-1E3FAE621ACD}" dt="2024-09-20T07:04:00.216" v="62" actId="164"/>
          <ac:spMkLst>
            <pc:docMk/>
            <pc:sldMk cId="3274022134" sldId="2147471656"/>
            <ac:spMk id="39" creationId="{E378804B-F9D7-3C3C-7D7A-02C9821E5848}"/>
          </ac:spMkLst>
        </pc:spChg>
        <pc:grpChg chg="add mod">
          <ac:chgData name="Jackson Quinn" userId="f4787004-1b70-4f1d-97ed-cc65f8b67785" providerId="ADAL" clId="{A7754C7A-B49C-43C7-B4A1-1E3FAE621ACD}" dt="2024-09-20T07:04:00.216" v="62" actId="164"/>
          <ac:grpSpMkLst>
            <pc:docMk/>
            <pc:sldMk cId="3274022134" sldId="2147471656"/>
            <ac:grpSpMk id="2" creationId="{6D610A53-B79B-B78D-BBF5-5ABD3C326D67}"/>
          </ac:grpSpMkLst>
        </pc:grpChg>
        <pc:grpChg chg="mod">
          <ac:chgData name="Jackson Quinn" userId="f4787004-1b70-4f1d-97ed-cc65f8b67785" providerId="ADAL" clId="{A7754C7A-B49C-43C7-B4A1-1E3FAE621ACD}" dt="2024-09-20T07:04:00.216" v="62" actId="164"/>
          <ac:grpSpMkLst>
            <pc:docMk/>
            <pc:sldMk cId="3274022134" sldId="2147471656"/>
            <ac:grpSpMk id="14" creationId="{69C74A6C-21F8-6C52-6765-3DB37CCE7775}"/>
          </ac:grpSpMkLst>
        </pc:grpChg>
        <pc:grpChg chg="mod">
          <ac:chgData name="Jackson Quinn" userId="f4787004-1b70-4f1d-97ed-cc65f8b67785" providerId="ADAL" clId="{A7754C7A-B49C-43C7-B4A1-1E3FAE621ACD}" dt="2024-09-20T07:04:00.216" v="62" actId="164"/>
          <ac:grpSpMkLst>
            <pc:docMk/>
            <pc:sldMk cId="3274022134" sldId="2147471656"/>
            <ac:grpSpMk id="15" creationId="{5105D69D-F438-E647-8B10-9BDB079AFD82}"/>
          </ac:grpSpMkLst>
        </pc:grpChg>
        <pc:grpChg chg="mod">
          <ac:chgData name="Jackson Quinn" userId="f4787004-1b70-4f1d-97ed-cc65f8b67785" providerId="ADAL" clId="{A7754C7A-B49C-43C7-B4A1-1E3FAE621ACD}" dt="2024-09-20T07:04:00.216" v="62" actId="164"/>
          <ac:grpSpMkLst>
            <pc:docMk/>
            <pc:sldMk cId="3274022134" sldId="2147471656"/>
            <ac:grpSpMk id="16" creationId="{F3D83027-20FF-98A0-EE9B-469BD80AA127}"/>
          </ac:grpSpMkLst>
        </pc:grpChg>
        <pc:grpChg chg="mod">
          <ac:chgData name="Jackson Quinn" userId="f4787004-1b70-4f1d-97ed-cc65f8b67785" providerId="ADAL" clId="{A7754C7A-B49C-43C7-B4A1-1E3FAE621ACD}" dt="2024-09-20T07:04:00.216" v="62" actId="164"/>
          <ac:grpSpMkLst>
            <pc:docMk/>
            <pc:sldMk cId="3274022134" sldId="2147471656"/>
            <ac:grpSpMk id="17" creationId="{997E32DB-B5A5-19CB-827A-67989BC83D84}"/>
          </ac:grpSpMkLst>
        </pc:grpChg>
        <pc:cxnChg chg="mod">
          <ac:chgData name="Jackson Quinn" userId="f4787004-1b70-4f1d-97ed-cc65f8b67785" providerId="ADAL" clId="{A7754C7A-B49C-43C7-B4A1-1E3FAE621ACD}" dt="2024-09-20T07:04:00.216" v="62" actId="164"/>
          <ac:cxnSpMkLst>
            <pc:docMk/>
            <pc:sldMk cId="3274022134" sldId="2147471656"/>
            <ac:cxnSpMk id="40" creationId="{DDC915AB-104B-1D76-EB7C-EF1CFB218D8B}"/>
          </ac:cxnSpMkLst>
        </pc:cxnChg>
        <pc:cxnChg chg="mod">
          <ac:chgData name="Jackson Quinn" userId="f4787004-1b70-4f1d-97ed-cc65f8b67785" providerId="ADAL" clId="{A7754C7A-B49C-43C7-B4A1-1E3FAE621ACD}" dt="2024-09-20T07:04:00.216" v="62" actId="164"/>
          <ac:cxnSpMkLst>
            <pc:docMk/>
            <pc:sldMk cId="3274022134" sldId="2147471656"/>
            <ac:cxnSpMk id="41" creationId="{5AC26D9B-05A7-8431-4B94-663063A36E68}"/>
          </ac:cxnSpMkLst>
        </pc:cxnChg>
        <pc:cxnChg chg="mod">
          <ac:chgData name="Jackson Quinn" userId="f4787004-1b70-4f1d-97ed-cc65f8b67785" providerId="ADAL" clId="{A7754C7A-B49C-43C7-B4A1-1E3FAE621ACD}" dt="2024-09-20T07:04:00.216" v="62" actId="164"/>
          <ac:cxnSpMkLst>
            <pc:docMk/>
            <pc:sldMk cId="3274022134" sldId="2147471656"/>
            <ac:cxnSpMk id="42" creationId="{B675F959-1E8F-CF08-F6D6-98E6DD7AF997}"/>
          </ac:cxnSpMkLst>
        </pc:cxnChg>
        <pc:cxnChg chg="mod">
          <ac:chgData name="Jackson Quinn" userId="f4787004-1b70-4f1d-97ed-cc65f8b67785" providerId="ADAL" clId="{A7754C7A-B49C-43C7-B4A1-1E3FAE621ACD}" dt="2024-09-20T07:04:00.216" v="62" actId="164"/>
          <ac:cxnSpMkLst>
            <pc:docMk/>
            <pc:sldMk cId="3274022134" sldId="2147471656"/>
            <ac:cxnSpMk id="49" creationId="{54CBD9CA-92F7-674F-0009-6DF6B1A4379A}"/>
          </ac:cxnSpMkLst>
        </pc:cxnChg>
      </pc:sldChg>
      <pc:sldChg chg="del">
        <pc:chgData name="Jackson Quinn" userId="f4787004-1b70-4f1d-97ed-cc65f8b67785" providerId="ADAL" clId="{A7754C7A-B49C-43C7-B4A1-1E3FAE621ACD}" dt="2024-09-20T04:03:45.829" v="47" actId="2696"/>
        <pc:sldMkLst>
          <pc:docMk/>
          <pc:sldMk cId="2109793814" sldId="2147471712"/>
        </pc:sldMkLst>
      </pc:sldChg>
      <pc:sldChg chg="modSp add mod">
        <pc:chgData name="Jackson Quinn" userId="f4787004-1b70-4f1d-97ed-cc65f8b67785" providerId="ADAL" clId="{A7754C7A-B49C-43C7-B4A1-1E3FAE621ACD}" dt="2024-09-20T04:03:30.282" v="44" actId="20577"/>
        <pc:sldMkLst>
          <pc:docMk/>
          <pc:sldMk cId="3735286326" sldId="2147471729"/>
        </pc:sldMkLst>
        <pc:spChg chg="mod">
          <ac:chgData name="Jackson Quinn" userId="f4787004-1b70-4f1d-97ed-cc65f8b67785" providerId="ADAL" clId="{A7754C7A-B49C-43C7-B4A1-1E3FAE621ACD}" dt="2024-09-20T04:03:30.282" v="44" actId="20577"/>
          <ac:spMkLst>
            <pc:docMk/>
            <pc:sldMk cId="3735286326" sldId="2147471729"/>
            <ac:spMk id="9" creationId="{EC7C2BED-2407-5028-C4AF-EF23897CE63F}"/>
          </ac:spMkLst>
        </pc:spChg>
        <pc:spChg chg="mod">
          <ac:chgData name="Jackson Quinn" userId="f4787004-1b70-4f1d-97ed-cc65f8b67785" providerId="ADAL" clId="{A7754C7A-B49C-43C7-B4A1-1E3FAE621ACD}" dt="2024-09-20T04:03:04.976" v="2"/>
          <ac:spMkLst>
            <pc:docMk/>
            <pc:sldMk cId="3735286326" sldId="2147471729"/>
            <ac:spMk id="10" creationId="{943ECE6E-897E-B14C-3F86-EDF303FB621E}"/>
          </ac:spMkLst>
        </pc:spChg>
      </pc:sldChg>
    </pc:docChg>
  </pc:docChgLst>
  <pc:docChgLst>
    <pc:chgData name="Connor Xu" userId="a2fa5610-7f85-41f8-9630-afc02cec4fa9" providerId="ADAL" clId="{57EAAC4B-D155-4C96-A5D6-9BC102C82EFF}"/>
    <pc:docChg chg="undo redo custSel addSld delSld modSld sldOrd modSection">
      <pc:chgData name="Connor Xu" userId="a2fa5610-7f85-41f8-9630-afc02cec4fa9" providerId="ADAL" clId="{57EAAC4B-D155-4C96-A5D6-9BC102C82EFF}" dt="2024-09-17T04:59:03.830" v="10348" actId="20577"/>
      <pc:docMkLst>
        <pc:docMk/>
      </pc:docMkLst>
      <pc:sldChg chg="modSp del mod">
        <pc:chgData name="Connor Xu" userId="a2fa5610-7f85-41f8-9630-afc02cec4fa9" providerId="ADAL" clId="{57EAAC4B-D155-4C96-A5D6-9BC102C82EFF}" dt="2024-09-03T00:09:55.907" v="7399" actId="47"/>
        <pc:sldMkLst>
          <pc:docMk/>
          <pc:sldMk cId="3452808978" sldId="2147471352"/>
        </pc:sldMkLst>
        <pc:spChg chg="mod">
          <ac:chgData name="Connor Xu" userId="a2fa5610-7f85-41f8-9630-afc02cec4fa9" providerId="ADAL" clId="{57EAAC4B-D155-4C96-A5D6-9BC102C82EFF}" dt="2024-09-02T23:59:12.419" v="5740" actId="12"/>
          <ac:spMkLst>
            <pc:docMk/>
            <pc:sldMk cId="3452808978" sldId="2147471352"/>
            <ac:spMk id="11" creationId="{4A28240A-1CEA-57EF-CEEA-36C4AF9C9426}"/>
          </ac:spMkLst>
        </pc:spChg>
      </pc:sldChg>
      <pc:sldChg chg="modSp del mod">
        <pc:chgData name="Connor Xu" userId="a2fa5610-7f85-41f8-9630-afc02cec4fa9" providerId="ADAL" clId="{57EAAC4B-D155-4C96-A5D6-9BC102C82EFF}" dt="2024-09-02T23:13:38.889" v="4049" actId="47"/>
        <pc:sldMkLst>
          <pc:docMk/>
          <pc:sldMk cId="2783805322" sldId="2147471357"/>
        </pc:sldMkLst>
        <pc:spChg chg="mod">
          <ac:chgData name="Connor Xu" userId="a2fa5610-7f85-41f8-9630-afc02cec4fa9" providerId="ADAL" clId="{57EAAC4B-D155-4C96-A5D6-9BC102C82EFF}" dt="2024-09-02T22:59:55.070" v="3653" actId="1076"/>
          <ac:spMkLst>
            <pc:docMk/>
            <pc:sldMk cId="2783805322" sldId="2147471357"/>
            <ac:spMk id="17" creationId="{848FDF65-1E88-8D25-E670-9B3E0B458CB5}"/>
          </ac:spMkLst>
        </pc:spChg>
      </pc:sldChg>
      <pc:sldChg chg="del">
        <pc:chgData name="Connor Xu" userId="a2fa5610-7f85-41f8-9630-afc02cec4fa9" providerId="ADAL" clId="{57EAAC4B-D155-4C96-A5D6-9BC102C82EFF}" dt="2024-09-02T22:49:08.889" v="3442" actId="47"/>
        <pc:sldMkLst>
          <pc:docMk/>
          <pc:sldMk cId="270764744" sldId="2147471363"/>
        </pc:sldMkLst>
      </pc:sldChg>
      <pc:sldChg chg="del">
        <pc:chgData name="Connor Xu" userId="a2fa5610-7f85-41f8-9630-afc02cec4fa9" providerId="ADAL" clId="{57EAAC4B-D155-4C96-A5D6-9BC102C82EFF}" dt="2024-09-02T23:44:00.508" v="4979" actId="47"/>
        <pc:sldMkLst>
          <pc:docMk/>
          <pc:sldMk cId="3301852112" sldId="2147471376"/>
        </pc:sldMkLst>
      </pc:sldChg>
      <pc:sldChg chg="delSp modSp del ord">
        <pc:chgData name="Connor Xu" userId="a2fa5610-7f85-41f8-9630-afc02cec4fa9" providerId="ADAL" clId="{57EAAC4B-D155-4C96-A5D6-9BC102C82EFF}" dt="2024-09-03T00:36:36.847" v="9133" actId="47"/>
        <pc:sldMkLst>
          <pc:docMk/>
          <pc:sldMk cId="3475717260" sldId="2147471377"/>
        </pc:sldMkLst>
        <pc:spChg chg="mod topLvl">
          <ac:chgData name="Connor Xu" userId="a2fa5610-7f85-41f8-9630-afc02cec4fa9" providerId="ADAL" clId="{57EAAC4B-D155-4C96-A5D6-9BC102C82EFF}" dt="2024-09-03T00:25:19.308" v="8807" actId="165"/>
          <ac:spMkLst>
            <pc:docMk/>
            <pc:sldMk cId="3475717260" sldId="2147471377"/>
            <ac:spMk id="6" creationId="{AA7CADB6-8D71-C2A6-11A2-437739CC8021}"/>
          </ac:spMkLst>
        </pc:spChg>
        <pc:spChg chg="mod topLvl">
          <ac:chgData name="Connor Xu" userId="a2fa5610-7f85-41f8-9630-afc02cec4fa9" providerId="ADAL" clId="{57EAAC4B-D155-4C96-A5D6-9BC102C82EFF}" dt="2024-09-03T00:25:19.308" v="8807" actId="165"/>
          <ac:spMkLst>
            <pc:docMk/>
            <pc:sldMk cId="3475717260" sldId="2147471377"/>
            <ac:spMk id="12" creationId="{28F2B60D-B3EC-421E-E62D-56EC61D8D9D0}"/>
          </ac:spMkLst>
        </pc:spChg>
        <pc:spChg chg="mod topLvl">
          <ac:chgData name="Connor Xu" userId="a2fa5610-7f85-41f8-9630-afc02cec4fa9" providerId="ADAL" clId="{57EAAC4B-D155-4C96-A5D6-9BC102C82EFF}" dt="2024-09-03T00:25:19.308" v="8807" actId="165"/>
          <ac:spMkLst>
            <pc:docMk/>
            <pc:sldMk cId="3475717260" sldId="2147471377"/>
            <ac:spMk id="13" creationId="{2A5C90A6-8A02-D185-E557-350E73368E37}"/>
          </ac:spMkLst>
        </pc:spChg>
        <pc:spChg chg="mod topLvl">
          <ac:chgData name="Connor Xu" userId="a2fa5610-7f85-41f8-9630-afc02cec4fa9" providerId="ADAL" clId="{57EAAC4B-D155-4C96-A5D6-9BC102C82EFF}" dt="2024-09-03T00:25:19.308" v="8807" actId="165"/>
          <ac:spMkLst>
            <pc:docMk/>
            <pc:sldMk cId="3475717260" sldId="2147471377"/>
            <ac:spMk id="14" creationId="{7087455B-BBF9-F747-B9E5-128A4829B018}"/>
          </ac:spMkLst>
        </pc:spChg>
        <pc:spChg chg="mod topLvl">
          <ac:chgData name="Connor Xu" userId="a2fa5610-7f85-41f8-9630-afc02cec4fa9" providerId="ADAL" clId="{57EAAC4B-D155-4C96-A5D6-9BC102C82EFF}" dt="2024-09-03T00:25:19.308" v="8807" actId="165"/>
          <ac:spMkLst>
            <pc:docMk/>
            <pc:sldMk cId="3475717260" sldId="2147471377"/>
            <ac:spMk id="15" creationId="{B1EE1565-CFBB-DA1A-B625-47DA12652B38}"/>
          </ac:spMkLst>
        </pc:spChg>
        <pc:spChg chg="mod topLvl">
          <ac:chgData name="Connor Xu" userId="a2fa5610-7f85-41f8-9630-afc02cec4fa9" providerId="ADAL" clId="{57EAAC4B-D155-4C96-A5D6-9BC102C82EFF}" dt="2024-09-03T00:25:19.308" v="8807" actId="165"/>
          <ac:spMkLst>
            <pc:docMk/>
            <pc:sldMk cId="3475717260" sldId="2147471377"/>
            <ac:spMk id="20" creationId="{3CD6E784-33BB-E2FD-D7E3-41147B98A3AB}"/>
          </ac:spMkLst>
        </pc:spChg>
        <pc:spChg chg="mod topLvl">
          <ac:chgData name="Connor Xu" userId="a2fa5610-7f85-41f8-9630-afc02cec4fa9" providerId="ADAL" clId="{57EAAC4B-D155-4C96-A5D6-9BC102C82EFF}" dt="2024-09-03T00:25:19.308" v="8807" actId="165"/>
          <ac:spMkLst>
            <pc:docMk/>
            <pc:sldMk cId="3475717260" sldId="2147471377"/>
            <ac:spMk id="21" creationId="{7F5E5FBD-EB7C-9183-2E5B-CDA092C38414}"/>
          </ac:spMkLst>
        </pc:spChg>
        <pc:spChg chg="mod topLvl">
          <ac:chgData name="Connor Xu" userId="a2fa5610-7f85-41f8-9630-afc02cec4fa9" providerId="ADAL" clId="{57EAAC4B-D155-4C96-A5D6-9BC102C82EFF}" dt="2024-09-03T00:25:19.308" v="8807" actId="165"/>
          <ac:spMkLst>
            <pc:docMk/>
            <pc:sldMk cId="3475717260" sldId="2147471377"/>
            <ac:spMk id="22" creationId="{6C4559D0-AC7A-69F7-99CD-68527905A671}"/>
          </ac:spMkLst>
        </pc:spChg>
        <pc:spChg chg="mod topLvl">
          <ac:chgData name="Connor Xu" userId="a2fa5610-7f85-41f8-9630-afc02cec4fa9" providerId="ADAL" clId="{57EAAC4B-D155-4C96-A5D6-9BC102C82EFF}" dt="2024-09-03T00:25:19.308" v="8807" actId="165"/>
          <ac:spMkLst>
            <pc:docMk/>
            <pc:sldMk cId="3475717260" sldId="2147471377"/>
            <ac:spMk id="25" creationId="{B962CC20-081C-EBB9-D02E-71120F4558CA}"/>
          </ac:spMkLst>
        </pc:spChg>
        <pc:spChg chg="mod topLvl">
          <ac:chgData name="Connor Xu" userId="a2fa5610-7f85-41f8-9630-afc02cec4fa9" providerId="ADAL" clId="{57EAAC4B-D155-4C96-A5D6-9BC102C82EFF}" dt="2024-09-03T00:25:19.308" v="8807" actId="165"/>
          <ac:spMkLst>
            <pc:docMk/>
            <pc:sldMk cId="3475717260" sldId="2147471377"/>
            <ac:spMk id="26" creationId="{54BF8A41-B3BA-DFFF-F894-EC7A09179A38}"/>
          </ac:spMkLst>
        </pc:spChg>
        <pc:spChg chg="mod topLvl">
          <ac:chgData name="Connor Xu" userId="a2fa5610-7f85-41f8-9630-afc02cec4fa9" providerId="ADAL" clId="{57EAAC4B-D155-4C96-A5D6-9BC102C82EFF}" dt="2024-09-03T00:25:19.308" v="8807" actId="165"/>
          <ac:spMkLst>
            <pc:docMk/>
            <pc:sldMk cId="3475717260" sldId="2147471377"/>
            <ac:spMk id="27" creationId="{5D86B579-3199-E2BC-F12C-BAB8D5C8BD6E}"/>
          </ac:spMkLst>
        </pc:spChg>
        <pc:spChg chg="mod topLvl">
          <ac:chgData name="Connor Xu" userId="a2fa5610-7f85-41f8-9630-afc02cec4fa9" providerId="ADAL" clId="{57EAAC4B-D155-4C96-A5D6-9BC102C82EFF}" dt="2024-09-03T00:25:19.308" v="8807" actId="165"/>
          <ac:spMkLst>
            <pc:docMk/>
            <pc:sldMk cId="3475717260" sldId="2147471377"/>
            <ac:spMk id="28" creationId="{AD9D1637-E32B-6EAB-C459-5578F1C0B013}"/>
          </ac:spMkLst>
        </pc:spChg>
        <pc:spChg chg="mod topLvl">
          <ac:chgData name="Connor Xu" userId="a2fa5610-7f85-41f8-9630-afc02cec4fa9" providerId="ADAL" clId="{57EAAC4B-D155-4C96-A5D6-9BC102C82EFF}" dt="2024-09-03T00:25:19.308" v="8807" actId="165"/>
          <ac:spMkLst>
            <pc:docMk/>
            <pc:sldMk cId="3475717260" sldId="2147471377"/>
            <ac:spMk id="29" creationId="{E6FD2ABC-8A64-0AEE-6D7D-4F9AFCC70491}"/>
          </ac:spMkLst>
        </pc:spChg>
        <pc:spChg chg="mod topLvl">
          <ac:chgData name="Connor Xu" userId="a2fa5610-7f85-41f8-9630-afc02cec4fa9" providerId="ADAL" clId="{57EAAC4B-D155-4C96-A5D6-9BC102C82EFF}" dt="2024-09-03T00:25:19.308" v="8807" actId="165"/>
          <ac:spMkLst>
            <pc:docMk/>
            <pc:sldMk cId="3475717260" sldId="2147471377"/>
            <ac:spMk id="30" creationId="{F1EF498E-9E85-49DC-824A-A6E7F7E314F4}"/>
          </ac:spMkLst>
        </pc:spChg>
        <pc:spChg chg="mod topLvl">
          <ac:chgData name="Connor Xu" userId="a2fa5610-7f85-41f8-9630-afc02cec4fa9" providerId="ADAL" clId="{57EAAC4B-D155-4C96-A5D6-9BC102C82EFF}" dt="2024-09-03T00:25:19.308" v="8807" actId="165"/>
          <ac:spMkLst>
            <pc:docMk/>
            <pc:sldMk cId="3475717260" sldId="2147471377"/>
            <ac:spMk id="31" creationId="{E31297F2-B661-D1D4-0FEA-2103C6E4681E}"/>
          </ac:spMkLst>
        </pc:spChg>
        <pc:spChg chg="mod topLvl">
          <ac:chgData name="Connor Xu" userId="a2fa5610-7f85-41f8-9630-afc02cec4fa9" providerId="ADAL" clId="{57EAAC4B-D155-4C96-A5D6-9BC102C82EFF}" dt="2024-09-03T00:25:19.308" v="8807" actId="165"/>
          <ac:spMkLst>
            <pc:docMk/>
            <pc:sldMk cId="3475717260" sldId="2147471377"/>
            <ac:spMk id="33" creationId="{90C8ED3A-56F3-9E01-9947-0589D6B3F85A}"/>
          </ac:spMkLst>
        </pc:spChg>
        <pc:spChg chg="mod topLvl">
          <ac:chgData name="Connor Xu" userId="a2fa5610-7f85-41f8-9630-afc02cec4fa9" providerId="ADAL" clId="{57EAAC4B-D155-4C96-A5D6-9BC102C82EFF}" dt="2024-09-03T00:25:19.308" v="8807" actId="165"/>
          <ac:spMkLst>
            <pc:docMk/>
            <pc:sldMk cId="3475717260" sldId="2147471377"/>
            <ac:spMk id="34" creationId="{8869F1BD-BCBF-30AE-91E5-6C7327041B9A}"/>
          </ac:spMkLst>
        </pc:spChg>
        <pc:spChg chg="mod topLvl">
          <ac:chgData name="Connor Xu" userId="a2fa5610-7f85-41f8-9630-afc02cec4fa9" providerId="ADAL" clId="{57EAAC4B-D155-4C96-A5D6-9BC102C82EFF}" dt="2024-09-03T00:25:19.308" v="8807" actId="165"/>
          <ac:spMkLst>
            <pc:docMk/>
            <pc:sldMk cId="3475717260" sldId="2147471377"/>
            <ac:spMk id="35" creationId="{F105350F-F9FA-A54B-4F7D-44DED0DE44A5}"/>
          </ac:spMkLst>
        </pc:spChg>
        <pc:spChg chg="mod topLvl">
          <ac:chgData name="Connor Xu" userId="a2fa5610-7f85-41f8-9630-afc02cec4fa9" providerId="ADAL" clId="{57EAAC4B-D155-4C96-A5D6-9BC102C82EFF}" dt="2024-09-03T00:25:19.308" v="8807" actId="165"/>
          <ac:spMkLst>
            <pc:docMk/>
            <pc:sldMk cId="3475717260" sldId="2147471377"/>
            <ac:spMk id="36" creationId="{1EAE1547-AB5B-1B97-A969-4425078BACAB}"/>
          </ac:spMkLst>
        </pc:spChg>
        <pc:spChg chg="mod topLvl">
          <ac:chgData name="Connor Xu" userId="a2fa5610-7f85-41f8-9630-afc02cec4fa9" providerId="ADAL" clId="{57EAAC4B-D155-4C96-A5D6-9BC102C82EFF}" dt="2024-09-03T00:25:19.308" v="8807" actId="165"/>
          <ac:spMkLst>
            <pc:docMk/>
            <pc:sldMk cId="3475717260" sldId="2147471377"/>
            <ac:spMk id="37" creationId="{ADDC3948-C5A1-F39F-4B93-29D918EDBE91}"/>
          </ac:spMkLst>
        </pc:spChg>
        <pc:spChg chg="mod topLvl">
          <ac:chgData name="Connor Xu" userId="a2fa5610-7f85-41f8-9630-afc02cec4fa9" providerId="ADAL" clId="{57EAAC4B-D155-4C96-A5D6-9BC102C82EFF}" dt="2024-09-03T00:25:19.308" v="8807" actId="165"/>
          <ac:spMkLst>
            <pc:docMk/>
            <pc:sldMk cId="3475717260" sldId="2147471377"/>
            <ac:spMk id="38" creationId="{1E565550-6DFF-C044-A4DF-5F5B7EAA1EB2}"/>
          </ac:spMkLst>
        </pc:spChg>
        <pc:spChg chg="mod topLvl">
          <ac:chgData name="Connor Xu" userId="a2fa5610-7f85-41f8-9630-afc02cec4fa9" providerId="ADAL" clId="{57EAAC4B-D155-4C96-A5D6-9BC102C82EFF}" dt="2024-09-03T00:25:19.308" v="8807" actId="165"/>
          <ac:spMkLst>
            <pc:docMk/>
            <pc:sldMk cId="3475717260" sldId="2147471377"/>
            <ac:spMk id="54" creationId="{5293A127-AB45-5BCA-B59C-340416F2D811}"/>
          </ac:spMkLst>
        </pc:spChg>
        <pc:spChg chg="mod topLvl">
          <ac:chgData name="Connor Xu" userId="a2fa5610-7f85-41f8-9630-afc02cec4fa9" providerId="ADAL" clId="{57EAAC4B-D155-4C96-A5D6-9BC102C82EFF}" dt="2024-09-03T00:25:19.308" v="8807" actId="165"/>
          <ac:spMkLst>
            <pc:docMk/>
            <pc:sldMk cId="3475717260" sldId="2147471377"/>
            <ac:spMk id="55" creationId="{C50011C5-9CE1-7A8C-4CC5-B36956E269DD}"/>
          </ac:spMkLst>
        </pc:spChg>
        <pc:spChg chg="mod topLvl">
          <ac:chgData name="Connor Xu" userId="a2fa5610-7f85-41f8-9630-afc02cec4fa9" providerId="ADAL" clId="{57EAAC4B-D155-4C96-A5D6-9BC102C82EFF}" dt="2024-09-03T00:25:19.308" v="8807" actId="165"/>
          <ac:spMkLst>
            <pc:docMk/>
            <pc:sldMk cId="3475717260" sldId="2147471377"/>
            <ac:spMk id="60" creationId="{5FFD24BB-73FE-826D-0B00-1D930BF66872}"/>
          </ac:spMkLst>
        </pc:spChg>
        <pc:grpChg chg="del">
          <ac:chgData name="Connor Xu" userId="a2fa5610-7f85-41f8-9630-afc02cec4fa9" providerId="ADAL" clId="{57EAAC4B-D155-4C96-A5D6-9BC102C82EFF}" dt="2024-09-03T00:25:19.308" v="8807" actId="165"/>
          <ac:grpSpMkLst>
            <pc:docMk/>
            <pc:sldMk cId="3475717260" sldId="2147471377"/>
            <ac:grpSpMk id="65" creationId="{B683EA10-22BC-48B2-F164-FF7A0C24125D}"/>
          </ac:grpSpMkLst>
        </pc:grpChg>
        <pc:cxnChg chg="mod topLvl">
          <ac:chgData name="Connor Xu" userId="a2fa5610-7f85-41f8-9630-afc02cec4fa9" providerId="ADAL" clId="{57EAAC4B-D155-4C96-A5D6-9BC102C82EFF}" dt="2024-09-03T00:25:19.308" v="8807" actId="165"/>
          <ac:cxnSpMkLst>
            <pc:docMk/>
            <pc:sldMk cId="3475717260" sldId="2147471377"/>
            <ac:cxnSpMk id="18" creationId="{2A5D29DB-40D6-3311-E6AA-7FC3DEF396C0}"/>
          </ac:cxnSpMkLst>
        </pc:cxnChg>
        <pc:cxnChg chg="mod topLvl">
          <ac:chgData name="Connor Xu" userId="a2fa5610-7f85-41f8-9630-afc02cec4fa9" providerId="ADAL" clId="{57EAAC4B-D155-4C96-A5D6-9BC102C82EFF}" dt="2024-09-03T00:25:19.308" v="8807" actId="165"/>
          <ac:cxnSpMkLst>
            <pc:docMk/>
            <pc:sldMk cId="3475717260" sldId="2147471377"/>
            <ac:cxnSpMk id="40" creationId="{C3543E6F-D992-356C-C022-7739D4D3F176}"/>
          </ac:cxnSpMkLst>
        </pc:cxnChg>
        <pc:cxnChg chg="mod topLvl">
          <ac:chgData name="Connor Xu" userId="a2fa5610-7f85-41f8-9630-afc02cec4fa9" providerId="ADAL" clId="{57EAAC4B-D155-4C96-A5D6-9BC102C82EFF}" dt="2024-09-03T00:25:19.308" v="8807" actId="165"/>
          <ac:cxnSpMkLst>
            <pc:docMk/>
            <pc:sldMk cId="3475717260" sldId="2147471377"/>
            <ac:cxnSpMk id="42" creationId="{45169AC3-4F04-AD64-D478-84BF8DD74D3B}"/>
          </ac:cxnSpMkLst>
        </pc:cxnChg>
        <pc:cxnChg chg="mod topLvl">
          <ac:chgData name="Connor Xu" userId="a2fa5610-7f85-41f8-9630-afc02cec4fa9" providerId="ADAL" clId="{57EAAC4B-D155-4C96-A5D6-9BC102C82EFF}" dt="2024-09-03T00:25:19.308" v="8807" actId="165"/>
          <ac:cxnSpMkLst>
            <pc:docMk/>
            <pc:sldMk cId="3475717260" sldId="2147471377"/>
            <ac:cxnSpMk id="44" creationId="{DC2FAF77-8D06-916D-584D-C7C3D34A9A3F}"/>
          </ac:cxnSpMkLst>
        </pc:cxnChg>
        <pc:cxnChg chg="mod topLvl">
          <ac:chgData name="Connor Xu" userId="a2fa5610-7f85-41f8-9630-afc02cec4fa9" providerId="ADAL" clId="{57EAAC4B-D155-4C96-A5D6-9BC102C82EFF}" dt="2024-09-03T00:25:19.308" v="8807" actId="165"/>
          <ac:cxnSpMkLst>
            <pc:docMk/>
            <pc:sldMk cId="3475717260" sldId="2147471377"/>
            <ac:cxnSpMk id="46" creationId="{CF5D1EF1-85E4-3AAB-297D-1DAC6B0C47AF}"/>
          </ac:cxnSpMkLst>
        </pc:cxnChg>
        <pc:cxnChg chg="mod topLvl">
          <ac:chgData name="Connor Xu" userId="a2fa5610-7f85-41f8-9630-afc02cec4fa9" providerId="ADAL" clId="{57EAAC4B-D155-4C96-A5D6-9BC102C82EFF}" dt="2024-09-03T00:25:19.308" v="8807" actId="165"/>
          <ac:cxnSpMkLst>
            <pc:docMk/>
            <pc:sldMk cId="3475717260" sldId="2147471377"/>
            <ac:cxnSpMk id="48" creationId="{120C150A-2C9B-8CE2-86C1-965EEE69EF02}"/>
          </ac:cxnSpMkLst>
        </pc:cxnChg>
        <pc:cxnChg chg="mod topLvl">
          <ac:chgData name="Connor Xu" userId="a2fa5610-7f85-41f8-9630-afc02cec4fa9" providerId="ADAL" clId="{57EAAC4B-D155-4C96-A5D6-9BC102C82EFF}" dt="2024-09-03T00:25:19.308" v="8807" actId="165"/>
          <ac:cxnSpMkLst>
            <pc:docMk/>
            <pc:sldMk cId="3475717260" sldId="2147471377"/>
            <ac:cxnSpMk id="50" creationId="{A6943082-14C1-195A-C9AC-95A4A2C592A2}"/>
          </ac:cxnSpMkLst>
        </pc:cxnChg>
        <pc:cxnChg chg="mod topLvl">
          <ac:chgData name="Connor Xu" userId="a2fa5610-7f85-41f8-9630-afc02cec4fa9" providerId="ADAL" clId="{57EAAC4B-D155-4C96-A5D6-9BC102C82EFF}" dt="2024-09-03T00:25:19.308" v="8807" actId="165"/>
          <ac:cxnSpMkLst>
            <pc:docMk/>
            <pc:sldMk cId="3475717260" sldId="2147471377"/>
            <ac:cxnSpMk id="52" creationId="{4458BD9D-76F6-7D35-A761-F36450ECEDCA}"/>
          </ac:cxnSpMkLst>
        </pc:cxnChg>
        <pc:cxnChg chg="mod topLvl">
          <ac:chgData name="Connor Xu" userId="a2fa5610-7f85-41f8-9630-afc02cec4fa9" providerId="ADAL" clId="{57EAAC4B-D155-4C96-A5D6-9BC102C82EFF}" dt="2024-09-03T00:25:19.308" v="8807" actId="165"/>
          <ac:cxnSpMkLst>
            <pc:docMk/>
            <pc:sldMk cId="3475717260" sldId="2147471377"/>
            <ac:cxnSpMk id="62" creationId="{B36BF2B7-D024-29CD-86BF-2BB00C007EE0}"/>
          </ac:cxnSpMkLst>
        </pc:cxnChg>
      </pc:sldChg>
      <pc:sldChg chg="addSp delSp modSp add mod">
        <pc:chgData name="Connor Xu" userId="a2fa5610-7f85-41f8-9630-afc02cec4fa9" providerId="ADAL" clId="{57EAAC4B-D155-4C96-A5D6-9BC102C82EFF}" dt="2024-09-03T03:02:08.312" v="10126" actId="20577"/>
        <pc:sldMkLst>
          <pc:docMk/>
          <pc:sldMk cId="806101404" sldId="2147471590"/>
        </pc:sldMkLst>
        <pc:spChg chg="del">
          <ac:chgData name="Connor Xu" userId="a2fa5610-7f85-41f8-9630-afc02cec4fa9" providerId="ADAL" clId="{57EAAC4B-D155-4C96-A5D6-9BC102C82EFF}" dt="2024-09-03T00:18:57.705" v="7429" actId="478"/>
          <ac:spMkLst>
            <pc:docMk/>
            <pc:sldMk cId="806101404" sldId="2147471590"/>
            <ac:spMk id="2" creationId="{D1B4AD01-A264-7AF4-0244-2E030CA2D1D7}"/>
          </ac:spMkLst>
        </pc:spChg>
        <pc:spChg chg="del">
          <ac:chgData name="Connor Xu" userId="a2fa5610-7f85-41f8-9630-afc02cec4fa9" providerId="ADAL" clId="{57EAAC4B-D155-4C96-A5D6-9BC102C82EFF}" dt="2024-09-03T00:12:01.140" v="7417" actId="478"/>
          <ac:spMkLst>
            <pc:docMk/>
            <pc:sldMk cId="806101404" sldId="2147471590"/>
            <ac:spMk id="3" creationId="{610FAD7A-FEBE-E0A3-52D5-AFC6C0F958E0}"/>
          </ac:spMkLst>
        </pc:spChg>
        <pc:spChg chg="del mod topLvl">
          <ac:chgData name="Connor Xu" userId="a2fa5610-7f85-41f8-9630-afc02cec4fa9" providerId="ADAL" clId="{57EAAC4B-D155-4C96-A5D6-9BC102C82EFF}" dt="2024-09-03T00:25:26.494" v="8809" actId="478"/>
          <ac:spMkLst>
            <pc:docMk/>
            <pc:sldMk cId="806101404" sldId="2147471590"/>
            <ac:spMk id="5" creationId="{73675595-3E1C-30F3-54B5-E7F4E65E6BDB}"/>
          </ac:spMkLst>
        </pc:spChg>
        <pc:spChg chg="mod">
          <ac:chgData name="Connor Xu" userId="a2fa5610-7f85-41f8-9630-afc02cec4fa9" providerId="ADAL" clId="{57EAAC4B-D155-4C96-A5D6-9BC102C82EFF}" dt="2024-09-03T00:21:36.203" v="8371" actId="20577"/>
          <ac:spMkLst>
            <pc:docMk/>
            <pc:sldMk cId="806101404" sldId="2147471590"/>
            <ac:spMk id="6" creationId="{DB54B736-1D41-72F0-AD0A-F40BAFDDBDB5}"/>
          </ac:spMkLst>
        </pc:spChg>
        <pc:spChg chg="mod">
          <ac:chgData name="Connor Xu" userId="a2fa5610-7f85-41f8-9630-afc02cec4fa9" providerId="ADAL" clId="{57EAAC4B-D155-4C96-A5D6-9BC102C82EFF}" dt="2024-09-03T00:22:59.732" v="8731" actId="14100"/>
          <ac:spMkLst>
            <pc:docMk/>
            <pc:sldMk cId="806101404" sldId="2147471590"/>
            <ac:spMk id="7" creationId="{26A7116D-1600-A1EB-4994-71E15A6E91CB}"/>
          </ac:spMkLst>
        </pc:spChg>
        <pc:spChg chg="mod">
          <ac:chgData name="Connor Xu" userId="a2fa5610-7f85-41f8-9630-afc02cec4fa9" providerId="ADAL" clId="{57EAAC4B-D155-4C96-A5D6-9BC102C82EFF}" dt="2024-09-03T00:23:14.744" v="8738" actId="165"/>
          <ac:spMkLst>
            <pc:docMk/>
            <pc:sldMk cId="806101404" sldId="2147471590"/>
            <ac:spMk id="10" creationId="{3540FE6E-F224-EC2D-E921-6C1CD8AC7B67}"/>
          </ac:spMkLst>
        </pc:spChg>
        <pc:spChg chg="mod">
          <ac:chgData name="Connor Xu" userId="a2fa5610-7f85-41f8-9630-afc02cec4fa9" providerId="ADAL" clId="{57EAAC4B-D155-4C96-A5D6-9BC102C82EFF}" dt="2024-09-03T00:23:14.744" v="8738" actId="165"/>
          <ac:spMkLst>
            <pc:docMk/>
            <pc:sldMk cId="806101404" sldId="2147471590"/>
            <ac:spMk id="11" creationId="{44CC9895-D313-7A38-4CB5-3E39787D4F73}"/>
          </ac:spMkLst>
        </pc:spChg>
        <pc:spChg chg="mod">
          <ac:chgData name="Connor Xu" userId="a2fa5610-7f85-41f8-9630-afc02cec4fa9" providerId="ADAL" clId="{57EAAC4B-D155-4C96-A5D6-9BC102C82EFF}" dt="2024-09-03T00:23:14.744" v="8738" actId="165"/>
          <ac:spMkLst>
            <pc:docMk/>
            <pc:sldMk cId="806101404" sldId="2147471590"/>
            <ac:spMk id="13" creationId="{E21BE4B8-F5DC-B602-5648-3B86F3DFFFC1}"/>
          </ac:spMkLst>
        </pc:spChg>
        <pc:spChg chg="mod">
          <ac:chgData name="Connor Xu" userId="a2fa5610-7f85-41f8-9630-afc02cec4fa9" providerId="ADAL" clId="{57EAAC4B-D155-4C96-A5D6-9BC102C82EFF}" dt="2024-09-03T00:23:14.744" v="8738" actId="165"/>
          <ac:spMkLst>
            <pc:docMk/>
            <pc:sldMk cId="806101404" sldId="2147471590"/>
            <ac:spMk id="14" creationId="{348825D2-6E30-F19A-A877-5BD0C4B3B302}"/>
          </ac:spMkLst>
        </pc:spChg>
        <pc:spChg chg="del mod topLvl">
          <ac:chgData name="Connor Xu" userId="a2fa5610-7f85-41f8-9630-afc02cec4fa9" providerId="ADAL" clId="{57EAAC4B-D155-4C96-A5D6-9BC102C82EFF}" dt="2024-09-03T00:23:24.400" v="8743" actId="478"/>
          <ac:spMkLst>
            <pc:docMk/>
            <pc:sldMk cId="806101404" sldId="2147471590"/>
            <ac:spMk id="15" creationId="{6DEAB0E0-5CB7-B76D-41EE-9C2A0E544DEA}"/>
          </ac:spMkLst>
        </pc:spChg>
        <pc:spChg chg="del mod">
          <ac:chgData name="Connor Xu" userId="a2fa5610-7f85-41f8-9630-afc02cec4fa9" providerId="ADAL" clId="{57EAAC4B-D155-4C96-A5D6-9BC102C82EFF}" dt="2024-09-03T00:23:08.239" v="8735" actId="478"/>
          <ac:spMkLst>
            <pc:docMk/>
            <pc:sldMk cId="806101404" sldId="2147471590"/>
            <ac:spMk id="19" creationId="{32AFC931-C78A-72AC-D5EB-F35E5E523EB0}"/>
          </ac:spMkLst>
        </pc:spChg>
        <pc:spChg chg="mod">
          <ac:chgData name="Connor Xu" userId="a2fa5610-7f85-41f8-9630-afc02cec4fa9" providerId="ADAL" clId="{57EAAC4B-D155-4C96-A5D6-9BC102C82EFF}" dt="2024-09-03T00:23:14.744" v="8738" actId="165"/>
          <ac:spMkLst>
            <pc:docMk/>
            <pc:sldMk cId="806101404" sldId="2147471590"/>
            <ac:spMk id="21" creationId="{F2400877-89AE-0DB3-B8AF-42FBD55F3D84}"/>
          </ac:spMkLst>
        </pc:spChg>
        <pc:spChg chg="mod">
          <ac:chgData name="Connor Xu" userId="a2fa5610-7f85-41f8-9630-afc02cec4fa9" providerId="ADAL" clId="{57EAAC4B-D155-4C96-A5D6-9BC102C82EFF}" dt="2024-09-03T00:23:14.744" v="8738" actId="165"/>
          <ac:spMkLst>
            <pc:docMk/>
            <pc:sldMk cId="806101404" sldId="2147471590"/>
            <ac:spMk id="22" creationId="{4E61A79F-339E-D907-50C8-2AE11099AEE2}"/>
          </ac:spMkLst>
        </pc:spChg>
        <pc:spChg chg="mod">
          <ac:chgData name="Connor Xu" userId="a2fa5610-7f85-41f8-9630-afc02cec4fa9" providerId="ADAL" clId="{57EAAC4B-D155-4C96-A5D6-9BC102C82EFF}" dt="2024-09-03T00:23:14.744" v="8738" actId="165"/>
          <ac:spMkLst>
            <pc:docMk/>
            <pc:sldMk cId="806101404" sldId="2147471590"/>
            <ac:spMk id="24" creationId="{E21545B2-D486-9399-A470-07B45E7F35A2}"/>
          </ac:spMkLst>
        </pc:spChg>
        <pc:spChg chg="mod">
          <ac:chgData name="Connor Xu" userId="a2fa5610-7f85-41f8-9630-afc02cec4fa9" providerId="ADAL" clId="{57EAAC4B-D155-4C96-A5D6-9BC102C82EFF}" dt="2024-09-03T00:23:14.744" v="8738" actId="165"/>
          <ac:spMkLst>
            <pc:docMk/>
            <pc:sldMk cId="806101404" sldId="2147471590"/>
            <ac:spMk id="25" creationId="{AA2D13A8-D692-E38F-889D-FC5C97739B7A}"/>
          </ac:spMkLst>
        </pc:spChg>
        <pc:spChg chg="mod">
          <ac:chgData name="Connor Xu" userId="a2fa5610-7f85-41f8-9630-afc02cec4fa9" providerId="ADAL" clId="{57EAAC4B-D155-4C96-A5D6-9BC102C82EFF}" dt="2024-09-03T00:22:56.387" v="8729" actId="1076"/>
          <ac:spMkLst>
            <pc:docMk/>
            <pc:sldMk cId="806101404" sldId="2147471590"/>
            <ac:spMk id="28" creationId="{6FE5B717-68E7-B5A6-8A42-7B74B0E6ECE2}"/>
          </ac:spMkLst>
        </pc:spChg>
        <pc:spChg chg="add mod">
          <ac:chgData name="Connor Xu" userId="a2fa5610-7f85-41f8-9630-afc02cec4fa9" providerId="ADAL" clId="{57EAAC4B-D155-4C96-A5D6-9BC102C82EFF}" dt="2024-09-03T00:20:58.631" v="8156" actId="20577"/>
          <ac:spMkLst>
            <pc:docMk/>
            <pc:sldMk cId="806101404" sldId="2147471590"/>
            <ac:spMk id="29" creationId="{2CD2714C-41C8-65F4-01D2-A1F2353866B7}"/>
          </ac:spMkLst>
        </pc:spChg>
        <pc:spChg chg="del">
          <ac:chgData name="Connor Xu" userId="a2fa5610-7f85-41f8-9630-afc02cec4fa9" providerId="ADAL" clId="{57EAAC4B-D155-4C96-A5D6-9BC102C82EFF}" dt="2024-09-03T00:19:09.935" v="7432" actId="478"/>
          <ac:spMkLst>
            <pc:docMk/>
            <pc:sldMk cId="806101404" sldId="2147471590"/>
            <ac:spMk id="31" creationId="{A31920F2-AE00-C02E-9941-2915083223F8}"/>
          </ac:spMkLst>
        </pc:spChg>
        <pc:spChg chg="del mod">
          <ac:chgData name="Connor Xu" userId="a2fa5610-7f85-41f8-9630-afc02cec4fa9" providerId="ADAL" clId="{57EAAC4B-D155-4C96-A5D6-9BC102C82EFF}" dt="2024-09-03T00:19:10.858" v="7433" actId="478"/>
          <ac:spMkLst>
            <pc:docMk/>
            <pc:sldMk cId="806101404" sldId="2147471590"/>
            <ac:spMk id="32" creationId="{DE3A8734-927E-3289-D2D2-5653A00E8E11}"/>
          </ac:spMkLst>
        </pc:spChg>
        <pc:spChg chg="add mod">
          <ac:chgData name="Connor Xu" userId="a2fa5610-7f85-41f8-9630-afc02cec4fa9" providerId="ADAL" clId="{57EAAC4B-D155-4C96-A5D6-9BC102C82EFF}" dt="2024-09-03T00:29:33.602" v="8825" actId="553"/>
          <ac:spMkLst>
            <pc:docMk/>
            <pc:sldMk cId="806101404" sldId="2147471590"/>
            <ac:spMk id="33" creationId="{3836A8CB-C90C-1E04-6680-71F89E7CA9D3}"/>
          </ac:spMkLst>
        </pc:spChg>
        <pc:spChg chg="add mod">
          <ac:chgData name="Connor Xu" userId="a2fa5610-7f85-41f8-9630-afc02cec4fa9" providerId="ADAL" clId="{57EAAC4B-D155-4C96-A5D6-9BC102C82EFF}" dt="2024-09-03T00:25:24.998" v="8808"/>
          <ac:spMkLst>
            <pc:docMk/>
            <pc:sldMk cId="806101404" sldId="2147471590"/>
            <ac:spMk id="35" creationId="{7D52AFD3-FD18-65FF-ACCE-B0AAF2765916}"/>
          </ac:spMkLst>
        </pc:spChg>
        <pc:spChg chg="add mod">
          <ac:chgData name="Connor Xu" userId="a2fa5610-7f85-41f8-9630-afc02cec4fa9" providerId="ADAL" clId="{57EAAC4B-D155-4C96-A5D6-9BC102C82EFF}" dt="2024-09-03T00:25:24.998" v="8808"/>
          <ac:spMkLst>
            <pc:docMk/>
            <pc:sldMk cId="806101404" sldId="2147471590"/>
            <ac:spMk id="36" creationId="{1D298BEA-FEC0-70B6-097A-3015165ADC94}"/>
          </ac:spMkLst>
        </pc:spChg>
        <pc:spChg chg="add mod">
          <ac:chgData name="Connor Xu" userId="a2fa5610-7f85-41f8-9630-afc02cec4fa9" providerId="ADAL" clId="{57EAAC4B-D155-4C96-A5D6-9BC102C82EFF}" dt="2024-09-03T00:25:24.998" v="8808"/>
          <ac:spMkLst>
            <pc:docMk/>
            <pc:sldMk cId="806101404" sldId="2147471590"/>
            <ac:spMk id="37" creationId="{25A2101F-9CCF-7E64-A1FC-3DD31923C875}"/>
          </ac:spMkLst>
        </pc:spChg>
        <pc:spChg chg="add mod">
          <ac:chgData name="Connor Xu" userId="a2fa5610-7f85-41f8-9630-afc02cec4fa9" providerId="ADAL" clId="{57EAAC4B-D155-4C96-A5D6-9BC102C82EFF}" dt="2024-09-03T00:25:24.998" v="8808"/>
          <ac:spMkLst>
            <pc:docMk/>
            <pc:sldMk cId="806101404" sldId="2147471590"/>
            <ac:spMk id="38" creationId="{2005F0BC-2229-9AF3-9BF7-C5AC1C391E18}"/>
          </ac:spMkLst>
        </pc:spChg>
        <pc:spChg chg="add mod">
          <ac:chgData name="Connor Xu" userId="a2fa5610-7f85-41f8-9630-afc02cec4fa9" providerId="ADAL" clId="{57EAAC4B-D155-4C96-A5D6-9BC102C82EFF}" dt="2024-09-03T00:25:24.998" v="8808"/>
          <ac:spMkLst>
            <pc:docMk/>
            <pc:sldMk cId="806101404" sldId="2147471590"/>
            <ac:spMk id="39" creationId="{52BA6800-AD2E-8D05-9FE4-7DBF94AA300B}"/>
          </ac:spMkLst>
        </pc:spChg>
        <pc:spChg chg="add mod">
          <ac:chgData name="Connor Xu" userId="a2fa5610-7f85-41f8-9630-afc02cec4fa9" providerId="ADAL" clId="{57EAAC4B-D155-4C96-A5D6-9BC102C82EFF}" dt="2024-09-03T00:25:24.998" v="8808"/>
          <ac:spMkLst>
            <pc:docMk/>
            <pc:sldMk cId="806101404" sldId="2147471590"/>
            <ac:spMk id="40" creationId="{0F1EDC92-DB43-8CA3-072A-EDEC5C3DBE4A}"/>
          </ac:spMkLst>
        </pc:spChg>
        <pc:spChg chg="add mod">
          <ac:chgData name="Connor Xu" userId="a2fa5610-7f85-41f8-9630-afc02cec4fa9" providerId="ADAL" clId="{57EAAC4B-D155-4C96-A5D6-9BC102C82EFF}" dt="2024-09-03T00:25:24.998" v="8808"/>
          <ac:spMkLst>
            <pc:docMk/>
            <pc:sldMk cId="806101404" sldId="2147471590"/>
            <ac:spMk id="41" creationId="{B96B53C5-CE73-6160-0B0A-C4F4187257FB}"/>
          </ac:spMkLst>
        </pc:spChg>
        <pc:spChg chg="add mod">
          <ac:chgData name="Connor Xu" userId="a2fa5610-7f85-41f8-9630-afc02cec4fa9" providerId="ADAL" clId="{57EAAC4B-D155-4C96-A5D6-9BC102C82EFF}" dt="2024-09-03T00:25:24.998" v="8808"/>
          <ac:spMkLst>
            <pc:docMk/>
            <pc:sldMk cId="806101404" sldId="2147471590"/>
            <ac:spMk id="42" creationId="{FED47CF5-0A49-87E7-14D8-CC4E78AE30C4}"/>
          </ac:spMkLst>
        </pc:spChg>
        <pc:spChg chg="add mod">
          <ac:chgData name="Connor Xu" userId="a2fa5610-7f85-41f8-9630-afc02cec4fa9" providerId="ADAL" clId="{57EAAC4B-D155-4C96-A5D6-9BC102C82EFF}" dt="2024-09-03T00:25:24.998" v="8808"/>
          <ac:spMkLst>
            <pc:docMk/>
            <pc:sldMk cId="806101404" sldId="2147471590"/>
            <ac:spMk id="43" creationId="{0FEF3A62-AED5-5859-04D1-F599C81BA9CC}"/>
          </ac:spMkLst>
        </pc:spChg>
        <pc:spChg chg="add mod">
          <ac:chgData name="Connor Xu" userId="a2fa5610-7f85-41f8-9630-afc02cec4fa9" providerId="ADAL" clId="{57EAAC4B-D155-4C96-A5D6-9BC102C82EFF}" dt="2024-09-03T00:25:24.998" v="8808"/>
          <ac:spMkLst>
            <pc:docMk/>
            <pc:sldMk cId="806101404" sldId="2147471590"/>
            <ac:spMk id="44" creationId="{F4ECE830-D685-7F15-3819-D43EA4D44BD7}"/>
          </ac:spMkLst>
        </pc:spChg>
        <pc:spChg chg="add mod">
          <ac:chgData name="Connor Xu" userId="a2fa5610-7f85-41f8-9630-afc02cec4fa9" providerId="ADAL" clId="{57EAAC4B-D155-4C96-A5D6-9BC102C82EFF}" dt="2024-09-03T00:25:24.998" v="8808"/>
          <ac:spMkLst>
            <pc:docMk/>
            <pc:sldMk cId="806101404" sldId="2147471590"/>
            <ac:spMk id="45" creationId="{2F8DB296-0553-EFD2-54FA-0E6223D920B6}"/>
          </ac:spMkLst>
        </pc:spChg>
        <pc:spChg chg="add mod">
          <ac:chgData name="Connor Xu" userId="a2fa5610-7f85-41f8-9630-afc02cec4fa9" providerId="ADAL" clId="{57EAAC4B-D155-4C96-A5D6-9BC102C82EFF}" dt="2024-09-03T00:25:24.998" v="8808"/>
          <ac:spMkLst>
            <pc:docMk/>
            <pc:sldMk cId="806101404" sldId="2147471590"/>
            <ac:spMk id="46" creationId="{A2E8E4BA-B639-2007-2E87-08A792820843}"/>
          </ac:spMkLst>
        </pc:spChg>
        <pc:spChg chg="add mod">
          <ac:chgData name="Connor Xu" userId="a2fa5610-7f85-41f8-9630-afc02cec4fa9" providerId="ADAL" clId="{57EAAC4B-D155-4C96-A5D6-9BC102C82EFF}" dt="2024-09-03T00:25:24.998" v="8808"/>
          <ac:spMkLst>
            <pc:docMk/>
            <pc:sldMk cId="806101404" sldId="2147471590"/>
            <ac:spMk id="47" creationId="{5F10E7C9-3A7A-D10D-BA57-B5ACF5276376}"/>
          </ac:spMkLst>
        </pc:spChg>
        <pc:spChg chg="add mod">
          <ac:chgData name="Connor Xu" userId="a2fa5610-7f85-41f8-9630-afc02cec4fa9" providerId="ADAL" clId="{57EAAC4B-D155-4C96-A5D6-9BC102C82EFF}" dt="2024-09-03T00:25:24.998" v="8808"/>
          <ac:spMkLst>
            <pc:docMk/>
            <pc:sldMk cId="806101404" sldId="2147471590"/>
            <ac:spMk id="48" creationId="{EE79D0B4-6987-476D-A8FD-97CD6974FBB7}"/>
          </ac:spMkLst>
        </pc:spChg>
        <pc:spChg chg="add mod">
          <ac:chgData name="Connor Xu" userId="a2fa5610-7f85-41f8-9630-afc02cec4fa9" providerId="ADAL" clId="{57EAAC4B-D155-4C96-A5D6-9BC102C82EFF}" dt="2024-09-03T00:25:24.998" v="8808"/>
          <ac:spMkLst>
            <pc:docMk/>
            <pc:sldMk cId="806101404" sldId="2147471590"/>
            <ac:spMk id="49" creationId="{9EA78923-3C0B-D652-B550-826A3B77C06B}"/>
          </ac:spMkLst>
        </pc:spChg>
        <pc:spChg chg="add mod">
          <ac:chgData name="Connor Xu" userId="a2fa5610-7f85-41f8-9630-afc02cec4fa9" providerId="ADAL" clId="{57EAAC4B-D155-4C96-A5D6-9BC102C82EFF}" dt="2024-09-03T00:25:24.998" v="8808"/>
          <ac:spMkLst>
            <pc:docMk/>
            <pc:sldMk cId="806101404" sldId="2147471590"/>
            <ac:spMk id="50" creationId="{F056CEF8-9F78-3CB8-0358-F900A1B3F320}"/>
          </ac:spMkLst>
        </pc:spChg>
        <pc:spChg chg="add mod">
          <ac:chgData name="Connor Xu" userId="a2fa5610-7f85-41f8-9630-afc02cec4fa9" providerId="ADAL" clId="{57EAAC4B-D155-4C96-A5D6-9BC102C82EFF}" dt="2024-09-03T00:25:24.998" v="8808"/>
          <ac:spMkLst>
            <pc:docMk/>
            <pc:sldMk cId="806101404" sldId="2147471590"/>
            <ac:spMk id="51" creationId="{D58A1B71-D409-0625-11A3-E67F80BCA26F}"/>
          </ac:spMkLst>
        </pc:spChg>
        <pc:spChg chg="add mod">
          <ac:chgData name="Connor Xu" userId="a2fa5610-7f85-41f8-9630-afc02cec4fa9" providerId="ADAL" clId="{57EAAC4B-D155-4C96-A5D6-9BC102C82EFF}" dt="2024-09-03T00:25:24.998" v="8808"/>
          <ac:spMkLst>
            <pc:docMk/>
            <pc:sldMk cId="806101404" sldId="2147471590"/>
            <ac:spMk id="52" creationId="{1ACA6934-4779-A78C-05C7-60777325215F}"/>
          </ac:spMkLst>
        </pc:spChg>
        <pc:spChg chg="add mod">
          <ac:chgData name="Connor Xu" userId="a2fa5610-7f85-41f8-9630-afc02cec4fa9" providerId="ADAL" clId="{57EAAC4B-D155-4C96-A5D6-9BC102C82EFF}" dt="2024-09-03T00:25:24.998" v="8808"/>
          <ac:spMkLst>
            <pc:docMk/>
            <pc:sldMk cId="806101404" sldId="2147471590"/>
            <ac:spMk id="53" creationId="{4FC49650-1901-0BDF-B641-592EE42E720D}"/>
          </ac:spMkLst>
        </pc:spChg>
        <pc:spChg chg="add mod">
          <ac:chgData name="Connor Xu" userId="a2fa5610-7f85-41f8-9630-afc02cec4fa9" providerId="ADAL" clId="{57EAAC4B-D155-4C96-A5D6-9BC102C82EFF}" dt="2024-09-03T00:25:24.998" v="8808"/>
          <ac:spMkLst>
            <pc:docMk/>
            <pc:sldMk cId="806101404" sldId="2147471590"/>
            <ac:spMk id="54" creationId="{EAA0F974-2007-D92A-FC0B-AE2AB5A1D860}"/>
          </ac:spMkLst>
        </pc:spChg>
        <pc:spChg chg="add mod">
          <ac:chgData name="Connor Xu" userId="a2fa5610-7f85-41f8-9630-afc02cec4fa9" providerId="ADAL" clId="{57EAAC4B-D155-4C96-A5D6-9BC102C82EFF}" dt="2024-09-03T00:25:24.998" v="8808"/>
          <ac:spMkLst>
            <pc:docMk/>
            <pc:sldMk cId="806101404" sldId="2147471590"/>
            <ac:spMk id="62" creationId="{95C0079E-FECD-67C5-0C00-BE91A6339F01}"/>
          </ac:spMkLst>
        </pc:spChg>
        <pc:spChg chg="add mod">
          <ac:chgData name="Connor Xu" userId="a2fa5610-7f85-41f8-9630-afc02cec4fa9" providerId="ADAL" clId="{57EAAC4B-D155-4C96-A5D6-9BC102C82EFF}" dt="2024-09-03T00:25:24.998" v="8808"/>
          <ac:spMkLst>
            <pc:docMk/>
            <pc:sldMk cId="806101404" sldId="2147471590"/>
            <ac:spMk id="63" creationId="{C829F8DE-11BC-EAE2-4F91-A7CD61E6A232}"/>
          </ac:spMkLst>
        </pc:spChg>
        <pc:spChg chg="add mod">
          <ac:chgData name="Connor Xu" userId="a2fa5610-7f85-41f8-9630-afc02cec4fa9" providerId="ADAL" clId="{57EAAC4B-D155-4C96-A5D6-9BC102C82EFF}" dt="2024-09-03T00:25:24.998" v="8808"/>
          <ac:spMkLst>
            <pc:docMk/>
            <pc:sldMk cId="806101404" sldId="2147471590"/>
            <ac:spMk id="64" creationId="{16CF9337-164B-412A-19FA-5609EEE18721}"/>
          </ac:spMkLst>
        </pc:spChg>
        <pc:spChg chg="add mod">
          <ac:chgData name="Connor Xu" userId="a2fa5610-7f85-41f8-9630-afc02cec4fa9" providerId="ADAL" clId="{57EAAC4B-D155-4C96-A5D6-9BC102C82EFF}" dt="2024-09-03T00:31:42.012" v="8861" actId="552"/>
          <ac:spMkLst>
            <pc:docMk/>
            <pc:sldMk cId="806101404" sldId="2147471590"/>
            <ac:spMk id="67" creationId="{DF17ECDA-4C46-22D1-3767-7CED0D7D9F98}"/>
          </ac:spMkLst>
        </pc:spChg>
        <pc:spChg chg="add mod">
          <ac:chgData name="Connor Xu" userId="a2fa5610-7f85-41f8-9630-afc02cec4fa9" providerId="ADAL" clId="{57EAAC4B-D155-4C96-A5D6-9BC102C82EFF}" dt="2024-09-03T00:31:44.691" v="8862" actId="552"/>
          <ac:spMkLst>
            <pc:docMk/>
            <pc:sldMk cId="806101404" sldId="2147471590"/>
            <ac:spMk id="68" creationId="{710324E3-B31F-58B6-FE4E-9CEA77B34EB3}"/>
          </ac:spMkLst>
        </pc:spChg>
        <pc:spChg chg="add mod">
          <ac:chgData name="Connor Xu" userId="a2fa5610-7f85-41f8-9630-afc02cec4fa9" providerId="ADAL" clId="{57EAAC4B-D155-4C96-A5D6-9BC102C82EFF}" dt="2024-09-03T00:31:47.729" v="8863" actId="552"/>
          <ac:spMkLst>
            <pc:docMk/>
            <pc:sldMk cId="806101404" sldId="2147471590"/>
            <ac:spMk id="69" creationId="{F03A20F5-BFF2-DB4A-51DC-9A66CD00E6EF}"/>
          </ac:spMkLst>
        </pc:spChg>
        <pc:spChg chg="add mod">
          <ac:chgData name="Connor Xu" userId="a2fa5610-7f85-41f8-9630-afc02cec4fa9" providerId="ADAL" clId="{57EAAC4B-D155-4C96-A5D6-9BC102C82EFF}" dt="2024-09-03T00:30:56.687" v="8845" actId="403"/>
          <ac:spMkLst>
            <pc:docMk/>
            <pc:sldMk cId="806101404" sldId="2147471590"/>
            <ac:spMk id="70" creationId="{5AB5DE8E-80AE-7A1E-45C9-C8249E3E9261}"/>
          </ac:spMkLst>
        </pc:spChg>
        <pc:spChg chg="add mod">
          <ac:chgData name="Connor Xu" userId="a2fa5610-7f85-41f8-9630-afc02cec4fa9" providerId="ADAL" clId="{57EAAC4B-D155-4C96-A5D6-9BC102C82EFF}" dt="2024-09-03T00:36:27.451" v="9132" actId="1035"/>
          <ac:spMkLst>
            <pc:docMk/>
            <pc:sldMk cId="806101404" sldId="2147471590"/>
            <ac:spMk id="71" creationId="{6A2AF1C6-40F0-2154-53DD-A71C72F74FA5}"/>
          </ac:spMkLst>
        </pc:spChg>
        <pc:spChg chg="add mod">
          <ac:chgData name="Connor Xu" userId="a2fa5610-7f85-41f8-9630-afc02cec4fa9" providerId="ADAL" clId="{57EAAC4B-D155-4C96-A5D6-9BC102C82EFF}" dt="2024-09-03T00:36:27.451" v="9132" actId="1035"/>
          <ac:spMkLst>
            <pc:docMk/>
            <pc:sldMk cId="806101404" sldId="2147471590"/>
            <ac:spMk id="72" creationId="{2FD91B6F-44F8-2C57-7891-B48B41916FA5}"/>
          </ac:spMkLst>
        </pc:spChg>
        <pc:spChg chg="add mod">
          <ac:chgData name="Connor Xu" userId="a2fa5610-7f85-41f8-9630-afc02cec4fa9" providerId="ADAL" clId="{57EAAC4B-D155-4C96-A5D6-9BC102C82EFF}" dt="2024-09-03T00:36:27.451" v="9132" actId="1035"/>
          <ac:spMkLst>
            <pc:docMk/>
            <pc:sldMk cId="806101404" sldId="2147471590"/>
            <ac:spMk id="73" creationId="{B5C2CDA5-5F3C-2C82-680F-F9CF730EB241}"/>
          </ac:spMkLst>
        </pc:spChg>
        <pc:spChg chg="add mod">
          <ac:chgData name="Connor Xu" userId="a2fa5610-7f85-41f8-9630-afc02cec4fa9" providerId="ADAL" clId="{57EAAC4B-D155-4C96-A5D6-9BC102C82EFF}" dt="2024-09-03T00:36:27.451" v="9132" actId="1035"/>
          <ac:spMkLst>
            <pc:docMk/>
            <pc:sldMk cId="806101404" sldId="2147471590"/>
            <ac:spMk id="74" creationId="{DA75AF50-27F0-FB28-79AD-E1BEDF97B2DD}"/>
          </ac:spMkLst>
        </pc:spChg>
        <pc:spChg chg="add mod">
          <ac:chgData name="Connor Xu" userId="a2fa5610-7f85-41f8-9630-afc02cec4fa9" providerId="ADAL" clId="{57EAAC4B-D155-4C96-A5D6-9BC102C82EFF}" dt="2024-09-03T00:36:27.451" v="9132" actId="1035"/>
          <ac:spMkLst>
            <pc:docMk/>
            <pc:sldMk cId="806101404" sldId="2147471590"/>
            <ac:spMk id="75" creationId="{1F70B720-3F81-7E6F-2960-11E581DFC429}"/>
          </ac:spMkLst>
        </pc:spChg>
        <pc:spChg chg="add mod">
          <ac:chgData name="Connor Xu" userId="a2fa5610-7f85-41f8-9630-afc02cec4fa9" providerId="ADAL" clId="{57EAAC4B-D155-4C96-A5D6-9BC102C82EFF}" dt="2024-09-03T03:01:33.481" v="10112" actId="20577"/>
          <ac:spMkLst>
            <pc:docMk/>
            <pc:sldMk cId="806101404" sldId="2147471590"/>
            <ac:spMk id="76" creationId="{840E4874-1B37-58AE-FD04-4C17C1EB2E4C}"/>
          </ac:spMkLst>
        </pc:spChg>
        <pc:spChg chg="add mod">
          <ac:chgData name="Connor Xu" userId="a2fa5610-7f85-41f8-9630-afc02cec4fa9" providerId="ADAL" clId="{57EAAC4B-D155-4C96-A5D6-9BC102C82EFF}" dt="2024-09-03T03:01:55.935" v="10123" actId="20577"/>
          <ac:spMkLst>
            <pc:docMk/>
            <pc:sldMk cId="806101404" sldId="2147471590"/>
            <ac:spMk id="77" creationId="{396C302C-0C4E-B5B6-A9F0-21A58DC8D984}"/>
          </ac:spMkLst>
        </pc:spChg>
        <pc:spChg chg="add mod">
          <ac:chgData name="Connor Xu" userId="a2fa5610-7f85-41f8-9630-afc02cec4fa9" providerId="ADAL" clId="{57EAAC4B-D155-4C96-A5D6-9BC102C82EFF}" dt="2024-09-03T03:02:08.312" v="10126" actId="20577"/>
          <ac:spMkLst>
            <pc:docMk/>
            <pc:sldMk cId="806101404" sldId="2147471590"/>
            <ac:spMk id="78" creationId="{7B7A581E-7082-CEDA-A32A-0606CB5F9A8D}"/>
          </ac:spMkLst>
        </pc:spChg>
        <pc:spChg chg="add mod">
          <ac:chgData name="Connor Xu" userId="a2fa5610-7f85-41f8-9630-afc02cec4fa9" providerId="ADAL" clId="{57EAAC4B-D155-4C96-A5D6-9BC102C82EFF}" dt="2024-09-03T00:36:27.451" v="9132" actId="1035"/>
          <ac:spMkLst>
            <pc:docMk/>
            <pc:sldMk cId="806101404" sldId="2147471590"/>
            <ac:spMk id="79" creationId="{2B36D0F4-8B77-8BED-D4D3-A3EEC6B139D9}"/>
          </ac:spMkLst>
        </pc:spChg>
        <pc:spChg chg="add mod">
          <ac:chgData name="Connor Xu" userId="a2fa5610-7f85-41f8-9630-afc02cec4fa9" providerId="ADAL" clId="{57EAAC4B-D155-4C96-A5D6-9BC102C82EFF}" dt="2024-09-03T00:36:27.451" v="9132" actId="1035"/>
          <ac:spMkLst>
            <pc:docMk/>
            <pc:sldMk cId="806101404" sldId="2147471590"/>
            <ac:spMk id="80" creationId="{04DB58D0-4208-8A04-B8A5-5072A474EB44}"/>
          </ac:spMkLst>
        </pc:spChg>
        <pc:spChg chg="add mod">
          <ac:chgData name="Connor Xu" userId="a2fa5610-7f85-41f8-9630-afc02cec4fa9" providerId="ADAL" clId="{57EAAC4B-D155-4C96-A5D6-9BC102C82EFF}" dt="2024-09-03T00:36:27.451" v="9132" actId="1035"/>
          <ac:spMkLst>
            <pc:docMk/>
            <pc:sldMk cId="806101404" sldId="2147471590"/>
            <ac:spMk id="81" creationId="{941AEB56-C28F-55E4-980D-86C5288C5C36}"/>
          </ac:spMkLst>
        </pc:spChg>
        <pc:spChg chg="add mod">
          <ac:chgData name="Connor Xu" userId="a2fa5610-7f85-41f8-9630-afc02cec4fa9" providerId="ADAL" clId="{57EAAC4B-D155-4C96-A5D6-9BC102C82EFF}" dt="2024-09-03T00:36:27.451" v="9132" actId="1035"/>
          <ac:spMkLst>
            <pc:docMk/>
            <pc:sldMk cId="806101404" sldId="2147471590"/>
            <ac:spMk id="82" creationId="{6D05F42C-F79B-12DE-6C1A-C0C47B0A246C}"/>
          </ac:spMkLst>
        </pc:spChg>
        <pc:spChg chg="add mod">
          <ac:chgData name="Connor Xu" userId="a2fa5610-7f85-41f8-9630-afc02cec4fa9" providerId="ADAL" clId="{57EAAC4B-D155-4C96-A5D6-9BC102C82EFF}" dt="2024-09-03T00:36:27.451" v="9132" actId="1035"/>
          <ac:spMkLst>
            <pc:docMk/>
            <pc:sldMk cId="806101404" sldId="2147471590"/>
            <ac:spMk id="83" creationId="{95F85918-2284-2279-B49C-176513263DAB}"/>
          </ac:spMkLst>
        </pc:spChg>
        <pc:spChg chg="add mod">
          <ac:chgData name="Connor Xu" userId="a2fa5610-7f85-41f8-9630-afc02cec4fa9" providerId="ADAL" clId="{57EAAC4B-D155-4C96-A5D6-9BC102C82EFF}" dt="2024-09-03T00:36:27.451" v="9132" actId="1035"/>
          <ac:spMkLst>
            <pc:docMk/>
            <pc:sldMk cId="806101404" sldId="2147471590"/>
            <ac:spMk id="84" creationId="{2C72616E-DDE4-3139-D6E2-77A199BBEBD5}"/>
          </ac:spMkLst>
        </pc:spChg>
        <pc:spChg chg="add mod">
          <ac:chgData name="Connor Xu" userId="a2fa5610-7f85-41f8-9630-afc02cec4fa9" providerId="ADAL" clId="{57EAAC4B-D155-4C96-A5D6-9BC102C82EFF}" dt="2024-09-03T00:36:27.451" v="9132" actId="1035"/>
          <ac:spMkLst>
            <pc:docMk/>
            <pc:sldMk cId="806101404" sldId="2147471590"/>
            <ac:spMk id="85" creationId="{84EF5E1E-EDC4-E64F-706A-593293040A2B}"/>
          </ac:spMkLst>
        </pc:spChg>
        <pc:spChg chg="add mod">
          <ac:chgData name="Connor Xu" userId="a2fa5610-7f85-41f8-9630-afc02cec4fa9" providerId="ADAL" clId="{57EAAC4B-D155-4C96-A5D6-9BC102C82EFF}" dt="2024-09-03T00:36:27.451" v="9132" actId="1035"/>
          <ac:spMkLst>
            <pc:docMk/>
            <pc:sldMk cId="806101404" sldId="2147471590"/>
            <ac:spMk id="86" creationId="{A25ADF9F-9CCD-433B-50FA-9D479FED7491}"/>
          </ac:spMkLst>
        </pc:spChg>
        <pc:spChg chg="add mod">
          <ac:chgData name="Connor Xu" userId="a2fa5610-7f85-41f8-9630-afc02cec4fa9" providerId="ADAL" clId="{57EAAC4B-D155-4C96-A5D6-9BC102C82EFF}" dt="2024-09-03T00:30:56.687" v="8845" actId="403"/>
          <ac:spMkLst>
            <pc:docMk/>
            <pc:sldMk cId="806101404" sldId="2147471590"/>
            <ac:spMk id="94" creationId="{0786370C-8BDA-51D7-2C85-37B0E5C6417A}"/>
          </ac:spMkLst>
        </pc:spChg>
        <pc:spChg chg="add mod">
          <ac:chgData name="Connor Xu" userId="a2fa5610-7f85-41f8-9630-afc02cec4fa9" providerId="ADAL" clId="{57EAAC4B-D155-4C96-A5D6-9BC102C82EFF}" dt="2024-09-03T03:01:27.126" v="10109" actId="20577"/>
          <ac:spMkLst>
            <pc:docMk/>
            <pc:sldMk cId="806101404" sldId="2147471590"/>
            <ac:spMk id="95" creationId="{B6E8C8DC-CF1F-8B36-B7F0-26CFADEBEE37}"/>
          </ac:spMkLst>
        </pc:spChg>
        <pc:spChg chg="add mod">
          <ac:chgData name="Connor Xu" userId="a2fa5610-7f85-41f8-9630-afc02cec4fa9" providerId="ADAL" clId="{57EAAC4B-D155-4C96-A5D6-9BC102C82EFF}" dt="2024-09-03T00:36:27.451" v="9132" actId="1035"/>
          <ac:spMkLst>
            <pc:docMk/>
            <pc:sldMk cId="806101404" sldId="2147471590"/>
            <ac:spMk id="96" creationId="{56106896-07E3-E4F6-7980-402D6E39C7CE}"/>
          </ac:spMkLst>
        </pc:spChg>
        <pc:grpChg chg="del mod topLvl">
          <ac:chgData name="Connor Xu" userId="a2fa5610-7f85-41f8-9630-afc02cec4fa9" providerId="ADAL" clId="{57EAAC4B-D155-4C96-A5D6-9BC102C82EFF}" dt="2024-09-03T00:23:19.673" v="8739" actId="478"/>
          <ac:grpSpMkLst>
            <pc:docMk/>
            <pc:sldMk cId="806101404" sldId="2147471590"/>
            <ac:grpSpMk id="9" creationId="{EDDB4A96-3B08-9389-DF72-D7773CF2588E}"/>
          </ac:grpSpMkLst>
        </pc:grpChg>
        <pc:grpChg chg="del mod topLvl">
          <ac:chgData name="Connor Xu" userId="a2fa5610-7f85-41f8-9630-afc02cec4fa9" providerId="ADAL" clId="{57EAAC4B-D155-4C96-A5D6-9BC102C82EFF}" dt="2024-09-03T00:23:19.673" v="8739" actId="478"/>
          <ac:grpSpMkLst>
            <pc:docMk/>
            <pc:sldMk cId="806101404" sldId="2147471590"/>
            <ac:grpSpMk id="12" creationId="{7176B66D-11B0-F645-6828-4C038557BDAE}"/>
          </ac:grpSpMkLst>
        </pc:grpChg>
        <pc:grpChg chg="del mod topLvl">
          <ac:chgData name="Connor Xu" userId="a2fa5610-7f85-41f8-9630-afc02cec4fa9" providerId="ADAL" clId="{57EAAC4B-D155-4C96-A5D6-9BC102C82EFF}" dt="2024-09-03T00:23:25.532" v="8744" actId="478"/>
          <ac:grpSpMkLst>
            <pc:docMk/>
            <pc:sldMk cId="806101404" sldId="2147471590"/>
            <ac:grpSpMk id="16" creationId="{8A0BFE5C-D559-762C-159E-23493E4AECA8}"/>
          </ac:grpSpMkLst>
        </pc:grpChg>
        <pc:grpChg chg="del mod topLvl">
          <ac:chgData name="Connor Xu" userId="a2fa5610-7f85-41f8-9630-afc02cec4fa9" providerId="ADAL" clId="{57EAAC4B-D155-4C96-A5D6-9BC102C82EFF}" dt="2024-09-03T00:23:19.673" v="8739" actId="478"/>
          <ac:grpSpMkLst>
            <pc:docMk/>
            <pc:sldMk cId="806101404" sldId="2147471590"/>
            <ac:grpSpMk id="20" creationId="{CA6A4E57-3DE8-E8BD-D185-9E88C9665BE1}"/>
          </ac:grpSpMkLst>
        </pc:grpChg>
        <pc:grpChg chg="del mod topLvl">
          <ac:chgData name="Connor Xu" userId="a2fa5610-7f85-41f8-9630-afc02cec4fa9" providerId="ADAL" clId="{57EAAC4B-D155-4C96-A5D6-9BC102C82EFF}" dt="2024-09-03T00:23:19.673" v="8739" actId="478"/>
          <ac:grpSpMkLst>
            <pc:docMk/>
            <pc:sldMk cId="806101404" sldId="2147471590"/>
            <ac:grpSpMk id="23" creationId="{97B6F884-3072-7E9D-F9E0-EB5550C5DC94}"/>
          </ac:grpSpMkLst>
        </pc:grpChg>
        <pc:grpChg chg="add del mod">
          <ac:chgData name="Connor Xu" userId="a2fa5610-7f85-41f8-9630-afc02cec4fa9" providerId="ADAL" clId="{57EAAC4B-D155-4C96-A5D6-9BC102C82EFF}" dt="2024-09-03T00:23:14.744" v="8738" actId="165"/>
          <ac:grpSpMkLst>
            <pc:docMk/>
            <pc:sldMk cId="806101404" sldId="2147471590"/>
            <ac:grpSpMk id="30" creationId="{AA4AB3D2-5190-69C9-46BB-7A4AB438ECF7}"/>
          </ac:grpSpMkLst>
        </pc:grpChg>
        <pc:cxnChg chg="del mod topLvl">
          <ac:chgData name="Connor Xu" userId="a2fa5610-7f85-41f8-9630-afc02cec4fa9" providerId="ADAL" clId="{57EAAC4B-D155-4C96-A5D6-9BC102C82EFF}" dt="2024-09-03T00:23:22.194" v="8741" actId="478"/>
          <ac:cxnSpMkLst>
            <pc:docMk/>
            <pc:sldMk cId="806101404" sldId="2147471590"/>
            <ac:cxnSpMk id="8" creationId="{3D307158-29ED-6776-D0AB-6A009BC5187E}"/>
          </ac:cxnSpMkLst>
        </pc:cxnChg>
        <pc:cxnChg chg="mod">
          <ac:chgData name="Connor Xu" userId="a2fa5610-7f85-41f8-9630-afc02cec4fa9" providerId="ADAL" clId="{57EAAC4B-D155-4C96-A5D6-9BC102C82EFF}" dt="2024-09-03T00:23:14.744" v="8738" actId="165"/>
          <ac:cxnSpMkLst>
            <pc:docMk/>
            <pc:sldMk cId="806101404" sldId="2147471590"/>
            <ac:cxnSpMk id="17" creationId="{5DB38E96-E2F1-AA71-E0E2-4C541DA2627D}"/>
          </ac:cxnSpMkLst>
        </pc:cxnChg>
        <pc:cxnChg chg="mod">
          <ac:chgData name="Connor Xu" userId="a2fa5610-7f85-41f8-9630-afc02cec4fa9" providerId="ADAL" clId="{57EAAC4B-D155-4C96-A5D6-9BC102C82EFF}" dt="2024-09-03T00:23:14.744" v="8738" actId="165"/>
          <ac:cxnSpMkLst>
            <pc:docMk/>
            <pc:sldMk cId="806101404" sldId="2147471590"/>
            <ac:cxnSpMk id="18" creationId="{0CE75646-806D-A181-2B92-C59A24389675}"/>
          </ac:cxnSpMkLst>
        </pc:cxnChg>
        <pc:cxnChg chg="del mod topLvl">
          <ac:chgData name="Connor Xu" userId="a2fa5610-7f85-41f8-9630-afc02cec4fa9" providerId="ADAL" clId="{57EAAC4B-D155-4C96-A5D6-9BC102C82EFF}" dt="2024-09-03T00:23:23.032" v="8742" actId="478"/>
          <ac:cxnSpMkLst>
            <pc:docMk/>
            <pc:sldMk cId="806101404" sldId="2147471590"/>
            <ac:cxnSpMk id="26" creationId="{D9DC618D-697C-C3D0-102C-10EA38B5D175}"/>
          </ac:cxnSpMkLst>
        </pc:cxnChg>
        <pc:cxnChg chg="del mod topLvl">
          <ac:chgData name="Connor Xu" userId="a2fa5610-7f85-41f8-9630-afc02cec4fa9" providerId="ADAL" clId="{57EAAC4B-D155-4C96-A5D6-9BC102C82EFF}" dt="2024-09-03T00:23:21.003" v="8740" actId="478"/>
          <ac:cxnSpMkLst>
            <pc:docMk/>
            <pc:sldMk cId="806101404" sldId="2147471590"/>
            <ac:cxnSpMk id="27" creationId="{DDC9E139-97D3-3A04-2C9A-E8468A350D00}"/>
          </ac:cxnSpMkLst>
        </pc:cxnChg>
        <pc:cxnChg chg="add mod">
          <ac:chgData name="Connor Xu" userId="a2fa5610-7f85-41f8-9630-afc02cec4fa9" providerId="ADAL" clId="{57EAAC4B-D155-4C96-A5D6-9BC102C82EFF}" dt="2024-09-03T00:25:24.998" v="8808"/>
          <ac:cxnSpMkLst>
            <pc:docMk/>
            <pc:sldMk cId="806101404" sldId="2147471590"/>
            <ac:cxnSpMk id="34" creationId="{95123DFB-FA52-DBEC-59C7-4B0945EF7FE7}"/>
          </ac:cxnSpMkLst>
        </pc:cxnChg>
        <pc:cxnChg chg="add mod">
          <ac:chgData name="Connor Xu" userId="a2fa5610-7f85-41f8-9630-afc02cec4fa9" providerId="ADAL" clId="{57EAAC4B-D155-4C96-A5D6-9BC102C82EFF}" dt="2024-09-03T00:25:24.998" v="8808"/>
          <ac:cxnSpMkLst>
            <pc:docMk/>
            <pc:sldMk cId="806101404" sldId="2147471590"/>
            <ac:cxnSpMk id="55" creationId="{A65CBCD2-1DD5-52C4-0720-B261D33088DA}"/>
          </ac:cxnSpMkLst>
        </pc:cxnChg>
        <pc:cxnChg chg="add mod">
          <ac:chgData name="Connor Xu" userId="a2fa5610-7f85-41f8-9630-afc02cec4fa9" providerId="ADAL" clId="{57EAAC4B-D155-4C96-A5D6-9BC102C82EFF}" dt="2024-09-03T00:25:24.998" v="8808"/>
          <ac:cxnSpMkLst>
            <pc:docMk/>
            <pc:sldMk cId="806101404" sldId="2147471590"/>
            <ac:cxnSpMk id="56" creationId="{12BBC683-78E5-5185-CCDC-A61C9B1B9F1A}"/>
          </ac:cxnSpMkLst>
        </pc:cxnChg>
        <pc:cxnChg chg="add mod">
          <ac:chgData name="Connor Xu" userId="a2fa5610-7f85-41f8-9630-afc02cec4fa9" providerId="ADAL" clId="{57EAAC4B-D155-4C96-A5D6-9BC102C82EFF}" dt="2024-09-03T00:25:24.998" v="8808"/>
          <ac:cxnSpMkLst>
            <pc:docMk/>
            <pc:sldMk cId="806101404" sldId="2147471590"/>
            <ac:cxnSpMk id="57" creationId="{5CF7B377-1BF1-0D5F-3F94-24E2CBA5E2BF}"/>
          </ac:cxnSpMkLst>
        </pc:cxnChg>
        <pc:cxnChg chg="add mod">
          <ac:chgData name="Connor Xu" userId="a2fa5610-7f85-41f8-9630-afc02cec4fa9" providerId="ADAL" clId="{57EAAC4B-D155-4C96-A5D6-9BC102C82EFF}" dt="2024-09-03T00:25:24.998" v="8808"/>
          <ac:cxnSpMkLst>
            <pc:docMk/>
            <pc:sldMk cId="806101404" sldId="2147471590"/>
            <ac:cxnSpMk id="58" creationId="{0E17417F-9060-8C90-D5CA-B2E818D11BF2}"/>
          </ac:cxnSpMkLst>
        </pc:cxnChg>
        <pc:cxnChg chg="add mod">
          <ac:chgData name="Connor Xu" userId="a2fa5610-7f85-41f8-9630-afc02cec4fa9" providerId="ADAL" clId="{57EAAC4B-D155-4C96-A5D6-9BC102C82EFF}" dt="2024-09-03T00:25:24.998" v="8808"/>
          <ac:cxnSpMkLst>
            <pc:docMk/>
            <pc:sldMk cId="806101404" sldId="2147471590"/>
            <ac:cxnSpMk id="59" creationId="{D7EFB8A8-035A-7A38-3A24-4855F91CEF80}"/>
          </ac:cxnSpMkLst>
        </pc:cxnChg>
        <pc:cxnChg chg="add mod">
          <ac:chgData name="Connor Xu" userId="a2fa5610-7f85-41f8-9630-afc02cec4fa9" providerId="ADAL" clId="{57EAAC4B-D155-4C96-A5D6-9BC102C82EFF}" dt="2024-09-03T00:25:24.998" v="8808"/>
          <ac:cxnSpMkLst>
            <pc:docMk/>
            <pc:sldMk cId="806101404" sldId="2147471590"/>
            <ac:cxnSpMk id="60" creationId="{F61C60A2-14D8-9F0B-AD49-76272D764376}"/>
          </ac:cxnSpMkLst>
        </pc:cxnChg>
        <pc:cxnChg chg="add mod">
          <ac:chgData name="Connor Xu" userId="a2fa5610-7f85-41f8-9630-afc02cec4fa9" providerId="ADAL" clId="{57EAAC4B-D155-4C96-A5D6-9BC102C82EFF}" dt="2024-09-03T00:25:24.998" v="8808"/>
          <ac:cxnSpMkLst>
            <pc:docMk/>
            <pc:sldMk cId="806101404" sldId="2147471590"/>
            <ac:cxnSpMk id="61" creationId="{6E815605-A0FA-59FC-1D02-60A2BC00772E}"/>
          </ac:cxnSpMkLst>
        </pc:cxnChg>
        <pc:cxnChg chg="add mod">
          <ac:chgData name="Connor Xu" userId="a2fa5610-7f85-41f8-9630-afc02cec4fa9" providerId="ADAL" clId="{57EAAC4B-D155-4C96-A5D6-9BC102C82EFF}" dt="2024-09-03T00:25:24.998" v="8808"/>
          <ac:cxnSpMkLst>
            <pc:docMk/>
            <pc:sldMk cId="806101404" sldId="2147471590"/>
            <ac:cxnSpMk id="65" creationId="{528BE29F-4A7A-4C4F-6EB9-2848A8D40C0D}"/>
          </ac:cxnSpMkLst>
        </pc:cxnChg>
        <pc:cxnChg chg="add mod">
          <ac:chgData name="Connor Xu" userId="a2fa5610-7f85-41f8-9630-afc02cec4fa9" providerId="ADAL" clId="{57EAAC4B-D155-4C96-A5D6-9BC102C82EFF}" dt="2024-09-03T00:30:39.049" v="8841" actId="1036"/>
          <ac:cxnSpMkLst>
            <pc:docMk/>
            <pc:sldMk cId="806101404" sldId="2147471590"/>
            <ac:cxnSpMk id="66" creationId="{DA2A2B8C-73E3-A59F-62E0-B179F77A86EB}"/>
          </ac:cxnSpMkLst>
        </pc:cxnChg>
        <pc:cxnChg chg="add mod">
          <ac:chgData name="Connor Xu" userId="a2fa5610-7f85-41f8-9630-afc02cec4fa9" providerId="ADAL" clId="{57EAAC4B-D155-4C96-A5D6-9BC102C82EFF}" dt="2024-09-03T00:36:27.451" v="9132" actId="1035"/>
          <ac:cxnSpMkLst>
            <pc:docMk/>
            <pc:sldMk cId="806101404" sldId="2147471590"/>
            <ac:cxnSpMk id="87" creationId="{FA3968A7-3890-2FA0-AC5A-CD61DCBBAD98}"/>
          </ac:cxnSpMkLst>
        </pc:cxnChg>
        <pc:cxnChg chg="add mod">
          <ac:chgData name="Connor Xu" userId="a2fa5610-7f85-41f8-9630-afc02cec4fa9" providerId="ADAL" clId="{57EAAC4B-D155-4C96-A5D6-9BC102C82EFF}" dt="2024-09-03T00:36:27.451" v="9132" actId="1035"/>
          <ac:cxnSpMkLst>
            <pc:docMk/>
            <pc:sldMk cId="806101404" sldId="2147471590"/>
            <ac:cxnSpMk id="88" creationId="{4D3998A5-B987-D5F8-E2C6-60943FC0F39A}"/>
          </ac:cxnSpMkLst>
        </pc:cxnChg>
        <pc:cxnChg chg="add mod">
          <ac:chgData name="Connor Xu" userId="a2fa5610-7f85-41f8-9630-afc02cec4fa9" providerId="ADAL" clId="{57EAAC4B-D155-4C96-A5D6-9BC102C82EFF}" dt="2024-09-03T00:36:27.451" v="9132" actId="1035"/>
          <ac:cxnSpMkLst>
            <pc:docMk/>
            <pc:sldMk cId="806101404" sldId="2147471590"/>
            <ac:cxnSpMk id="89" creationId="{F0877AF9-75BB-C395-495B-A41C10C69C9D}"/>
          </ac:cxnSpMkLst>
        </pc:cxnChg>
        <pc:cxnChg chg="add mod">
          <ac:chgData name="Connor Xu" userId="a2fa5610-7f85-41f8-9630-afc02cec4fa9" providerId="ADAL" clId="{57EAAC4B-D155-4C96-A5D6-9BC102C82EFF}" dt="2024-09-03T00:36:27.451" v="9132" actId="1035"/>
          <ac:cxnSpMkLst>
            <pc:docMk/>
            <pc:sldMk cId="806101404" sldId="2147471590"/>
            <ac:cxnSpMk id="90" creationId="{7FAAB6C4-D2F0-C8B7-B839-47598CDF15CA}"/>
          </ac:cxnSpMkLst>
        </pc:cxnChg>
        <pc:cxnChg chg="add mod">
          <ac:chgData name="Connor Xu" userId="a2fa5610-7f85-41f8-9630-afc02cec4fa9" providerId="ADAL" clId="{57EAAC4B-D155-4C96-A5D6-9BC102C82EFF}" dt="2024-09-03T00:36:27.451" v="9132" actId="1035"/>
          <ac:cxnSpMkLst>
            <pc:docMk/>
            <pc:sldMk cId="806101404" sldId="2147471590"/>
            <ac:cxnSpMk id="91" creationId="{7275A031-7E32-8A74-5C1E-B74D9D6C0F5F}"/>
          </ac:cxnSpMkLst>
        </pc:cxnChg>
        <pc:cxnChg chg="add mod">
          <ac:chgData name="Connor Xu" userId="a2fa5610-7f85-41f8-9630-afc02cec4fa9" providerId="ADAL" clId="{57EAAC4B-D155-4C96-A5D6-9BC102C82EFF}" dt="2024-09-03T00:36:27.451" v="9132" actId="1035"/>
          <ac:cxnSpMkLst>
            <pc:docMk/>
            <pc:sldMk cId="806101404" sldId="2147471590"/>
            <ac:cxnSpMk id="92" creationId="{CB20257D-7ED6-ADE3-F541-6B3C0F6CA4A5}"/>
          </ac:cxnSpMkLst>
        </pc:cxnChg>
        <pc:cxnChg chg="add mod">
          <ac:chgData name="Connor Xu" userId="a2fa5610-7f85-41f8-9630-afc02cec4fa9" providerId="ADAL" clId="{57EAAC4B-D155-4C96-A5D6-9BC102C82EFF}" dt="2024-09-03T00:36:27.451" v="9132" actId="1035"/>
          <ac:cxnSpMkLst>
            <pc:docMk/>
            <pc:sldMk cId="806101404" sldId="2147471590"/>
            <ac:cxnSpMk id="93" creationId="{EAAE4FEC-85FC-0D8E-7F78-04FA08A0E435}"/>
          </ac:cxnSpMkLst>
        </pc:cxnChg>
        <pc:cxnChg chg="add mod">
          <ac:chgData name="Connor Xu" userId="a2fa5610-7f85-41f8-9630-afc02cec4fa9" providerId="ADAL" clId="{57EAAC4B-D155-4C96-A5D6-9BC102C82EFF}" dt="2024-09-03T00:36:27.451" v="9132" actId="1035"/>
          <ac:cxnSpMkLst>
            <pc:docMk/>
            <pc:sldMk cId="806101404" sldId="2147471590"/>
            <ac:cxnSpMk id="97" creationId="{38CCF95F-81D4-B397-02A0-D52A5754B754}"/>
          </ac:cxnSpMkLst>
        </pc:cxnChg>
      </pc:sldChg>
      <pc:sldChg chg="addSp delSp modSp mod">
        <pc:chgData name="Connor Xu" userId="a2fa5610-7f85-41f8-9630-afc02cec4fa9" providerId="ADAL" clId="{57EAAC4B-D155-4C96-A5D6-9BC102C82EFF}" dt="2024-09-04T04:40:50.497" v="10278" actId="465"/>
        <pc:sldMkLst>
          <pc:docMk/>
          <pc:sldMk cId="4208571328" sldId="2147471596"/>
        </pc:sldMkLst>
        <pc:spChg chg="add mod">
          <ac:chgData name="Connor Xu" userId="a2fa5610-7f85-41f8-9630-afc02cec4fa9" providerId="ADAL" clId="{57EAAC4B-D155-4C96-A5D6-9BC102C82EFF}" dt="2024-09-03T02:56:07.533" v="9747" actId="20577"/>
          <ac:spMkLst>
            <pc:docMk/>
            <pc:sldMk cId="4208571328" sldId="2147471596"/>
            <ac:spMk id="2" creationId="{4CF9AC12-6829-52A5-CD0E-10BDED945F63}"/>
          </ac:spMkLst>
        </pc:spChg>
        <pc:spChg chg="mod">
          <ac:chgData name="Connor Xu" userId="a2fa5610-7f85-41f8-9630-afc02cec4fa9" providerId="ADAL" clId="{57EAAC4B-D155-4C96-A5D6-9BC102C82EFF}" dt="2024-09-02T22:54:07.636" v="3528" actId="20577"/>
          <ac:spMkLst>
            <pc:docMk/>
            <pc:sldMk cId="4208571328" sldId="2147471596"/>
            <ac:spMk id="3" creationId="{140EC108-D5C9-3E4E-4D9B-4F09A8C4F2B4}"/>
          </ac:spMkLst>
        </pc:spChg>
        <pc:spChg chg="mod topLvl">
          <ac:chgData name="Connor Xu" userId="a2fa5610-7f85-41f8-9630-afc02cec4fa9" providerId="ADAL" clId="{57EAAC4B-D155-4C96-A5D6-9BC102C82EFF}" dt="2024-09-04T04:40:27.443" v="10271" actId="164"/>
          <ac:spMkLst>
            <pc:docMk/>
            <pc:sldMk cId="4208571328" sldId="2147471596"/>
            <ac:spMk id="8" creationId="{DEEA9E97-4C44-C8CC-FE38-E204C68C9355}"/>
          </ac:spMkLst>
        </pc:spChg>
        <pc:spChg chg="mod topLvl">
          <ac:chgData name="Connor Xu" userId="a2fa5610-7f85-41f8-9630-afc02cec4fa9" providerId="ADAL" clId="{57EAAC4B-D155-4C96-A5D6-9BC102C82EFF}" dt="2024-09-04T04:40:23.188" v="10270" actId="164"/>
          <ac:spMkLst>
            <pc:docMk/>
            <pc:sldMk cId="4208571328" sldId="2147471596"/>
            <ac:spMk id="9" creationId="{21908228-9DBE-7E05-4353-04EC9B209AC0}"/>
          </ac:spMkLst>
        </pc:spChg>
        <pc:spChg chg="mod topLvl">
          <ac:chgData name="Connor Xu" userId="a2fa5610-7f85-41f8-9630-afc02cec4fa9" providerId="ADAL" clId="{57EAAC4B-D155-4C96-A5D6-9BC102C82EFF}" dt="2024-09-04T04:40:27.443" v="10271" actId="164"/>
          <ac:spMkLst>
            <pc:docMk/>
            <pc:sldMk cId="4208571328" sldId="2147471596"/>
            <ac:spMk id="35" creationId="{72388A26-B344-5CD6-7D78-3526AFB2B9DD}"/>
          </ac:spMkLst>
        </pc:spChg>
        <pc:spChg chg="mod topLvl">
          <ac:chgData name="Connor Xu" userId="a2fa5610-7f85-41f8-9630-afc02cec4fa9" providerId="ADAL" clId="{57EAAC4B-D155-4C96-A5D6-9BC102C82EFF}" dt="2024-09-04T04:40:23.188" v="10270" actId="164"/>
          <ac:spMkLst>
            <pc:docMk/>
            <pc:sldMk cId="4208571328" sldId="2147471596"/>
            <ac:spMk id="36" creationId="{0C62D7C4-CE2E-6E4A-B1C2-8EB269A63DEA}"/>
          </ac:spMkLst>
        </pc:spChg>
        <pc:spChg chg="mod topLvl">
          <ac:chgData name="Connor Xu" userId="a2fa5610-7f85-41f8-9630-afc02cec4fa9" providerId="ADAL" clId="{57EAAC4B-D155-4C96-A5D6-9BC102C82EFF}" dt="2024-09-04T04:40:33.050" v="10272" actId="164"/>
          <ac:spMkLst>
            <pc:docMk/>
            <pc:sldMk cId="4208571328" sldId="2147471596"/>
            <ac:spMk id="41" creationId="{3CCB9DE4-D554-B42D-B673-6DA74BCAE57A}"/>
          </ac:spMkLst>
        </pc:spChg>
        <pc:spChg chg="mod topLvl">
          <ac:chgData name="Connor Xu" userId="a2fa5610-7f85-41f8-9630-afc02cec4fa9" providerId="ADAL" clId="{57EAAC4B-D155-4C96-A5D6-9BC102C82EFF}" dt="2024-09-04T04:40:19.146" v="10269" actId="164"/>
          <ac:spMkLst>
            <pc:docMk/>
            <pc:sldMk cId="4208571328" sldId="2147471596"/>
            <ac:spMk id="42" creationId="{DB9DA75B-C433-DBCE-3F27-A53F6BB69DD5}"/>
          </ac:spMkLst>
        </pc:spChg>
        <pc:spChg chg="mod topLvl">
          <ac:chgData name="Connor Xu" userId="a2fa5610-7f85-41f8-9630-afc02cec4fa9" providerId="ADAL" clId="{57EAAC4B-D155-4C96-A5D6-9BC102C82EFF}" dt="2024-09-04T04:40:33.050" v="10272" actId="164"/>
          <ac:spMkLst>
            <pc:docMk/>
            <pc:sldMk cId="4208571328" sldId="2147471596"/>
            <ac:spMk id="43" creationId="{2F548F59-7666-4810-3F26-72FD60861C1E}"/>
          </ac:spMkLst>
        </pc:spChg>
        <pc:spChg chg="mod topLvl">
          <ac:chgData name="Connor Xu" userId="a2fa5610-7f85-41f8-9630-afc02cec4fa9" providerId="ADAL" clId="{57EAAC4B-D155-4C96-A5D6-9BC102C82EFF}" dt="2024-09-04T04:40:19.146" v="10269" actId="164"/>
          <ac:spMkLst>
            <pc:docMk/>
            <pc:sldMk cId="4208571328" sldId="2147471596"/>
            <ac:spMk id="44" creationId="{EFB06E33-8A45-D610-CC47-FDE99AAE2567}"/>
          </ac:spMkLst>
        </pc:spChg>
        <pc:spChg chg="mod topLvl">
          <ac:chgData name="Connor Xu" userId="a2fa5610-7f85-41f8-9630-afc02cec4fa9" providerId="ADAL" clId="{57EAAC4B-D155-4C96-A5D6-9BC102C82EFF}" dt="2024-09-04T04:40:37.693" v="10273" actId="164"/>
          <ac:spMkLst>
            <pc:docMk/>
            <pc:sldMk cId="4208571328" sldId="2147471596"/>
            <ac:spMk id="45" creationId="{DC656B41-F94F-5E05-CA97-84F734BF6388}"/>
          </ac:spMkLst>
        </pc:spChg>
        <pc:spChg chg="mod topLvl">
          <ac:chgData name="Connor Xu" userId="a2fa5610-7f85-41f8-9630-afc02cec4fa9" providerId="ADAL" clId="{57EAAC4B-D155-4C96-A5D6-9BC102C82EFF}" dt="2024-09-04T04:40:06.925" v="10255" actId="164"/>
          <ac:spMkLst>
            <pc:docMk/>
            <pc:sldMk cId="4208571328" sldId="2147471596"/>
            <ac:spMk id="46" creationId="{E8B7FA9D-4014-C76C-4C31-AA65BDEF68FC}"/>
          </ac:spMkLst>
        </pc:spChg>
        <pc:spChg chg="mod topLvl">
          <ac:chgData name="Connor Xu" userId="a2fa5610-7f85-41f8-9630-afc02cec4fa9" providerId="ADAL" clId="{57EAAC4B-D155-4C96-A5D6-9BC102C82EFF}" dt="2024-09-04T04:40:37.693" v="10273" actId="164"/>
          <ac:spMkLst>
            <pc:docMk/>
            <pc:sldMk cId="4208571328" sldId="2147471596"/>
            <ac:spMk id="47" creationId="{A6D84AB3-F2E3-6518-0424-61123186F3BC}"/>
          </ac:spMkLst>
        </pc:spChg>
        <pc:spChg chg="mod topLvl">
          <ac:chgData name="Connor Xu" userId="a2fa5610-7f85-41f8-9630-afc02cec4fa9" providerId="ADAL" clId="{57EAAC4B-D155-4C96-A5D6-9BC102C82EFF}" dt="2024-09-04T04:40:06.925" v="10255" actId="164"/>
          <ac:spMkLst>
            <pc:docMk/>
            <pc:sldMk cId="4208571328" sldId="2147471596"/>
            <ac:spMk id="48" creationId="{5DBEEEA1-EEFA-2247-D89B-C2112055F868}"/>
          </ac:spMkLst>
        </pc:spChg>
        <pc:spChg chg="del">
          <ac:chgData name="Connor Xu" userId="a2fa5610-7f85-41f8-9630-afc02cec4fa9" providerId="ADAL" clId="{57EAAC4B-D155-4C96-A5D6-9BC102C82EFF}" dt="2024-09-02T23:00:14.297" v="3656" actId="478"/>
          <ac:spMkLst>
            <pc:docMk/>
            <pc:sldMk cId="4208571328" sldId="2147471596"/>
            <ac:spMk id="49" creationId="{2A8377B5-BF2B-D1F2-D38F-EA63AA776EE0}"/>
          </ac:spMkLst>
        </pc:spChg>
        <pc:spChg chg="del">
          <ac:chgData name="Connor Xu" userId="a2fa5610-7f85-41f8-9630-afc02cec4fa9" providerId="ADAL" clId="{57EAAC4B-D155-4C96-A5D6-9BC102C82EFF}" dt="2024-09-02T23:00:14.297" v="3656" actId="478"/>
          <ac:spMkLst>
            <pc:docMk/>
            <pc:sldMk cId="4208571328" sldId="2147471596"/>
            <ac:spMk id="50" creationId="{9BEAAA60-20E1-CB72-E9C1-CA1301CD60CB}"/>
          </ac:spMkLst>
        </pc:spChg>
        <pc:spChg chg="del">
          <ac:chgData name="Connor Xu" userId="a2fa5610-7f85-41f8-9630-afc02cec4fa9" providerId="ADAL" clId="{57EAAC4B-D155-4C96-A5D6-9BC102C82EFF}" dt="2024-09-02T23:00:14.297" v="3656" actId="478"/>
          <ac:spMkLst>
            <pc:docMk/>
            <pc:sldMk cId="4208571328" sldId="2147471596"/>
            <ac:spMk id="51" creationId="{785F90D8-90DD-0E5B-A6C0-72C5499B0B3F}"/>
          </ac:spMkLst>
        </pc:spChg>
        <pc:spChg chg="del">
          <ac:chgData name="Connor Xu" userId="a2fa5610-7f85-41f8-9630-afc02cec4fa9" providerId="ADAL" clId="{57EAAC4B-D155-4C96-A5D6-9BC102C82EFF}" dt="2024-09-02T23:00:14.297" v="3656" actId="478"/>
          <ac:spMkLst>
            <pc:docMk/>
            <pc:sldMk cId="4208571328" sldId="2147471596"/>
            <ac:spMk id="52" creationId="{54629BDD-12DF-DBD2-239A-F92883439889}"/>
          </ac:spMkLst>
        </pc:spChg>
        <pc:spChg chg="del">
          <ac:chgData name="Connor Xu" userId="a2fa5610-7f85-41f8-9630-afc02cec4fa9" providerId="ADAL" clId="{57EAAC4B-D155-4C96-A5D6-9BC102C82EFF}" dt="2024-09-02T23:00:14.297" v="3656" actId="478"/>
          <ac:spMkLst>
            <pc:docMk/>
            <pc:sldMk cId="4208571328" sldId="2147471596"/>
            <ac:spMk id="53" creationId="{DC4D9864-585B-2F20-695D-43C01586C1B3}"/>
          </ac:spMkLst>
        </pc:spChg>
        <pc:spChg chg="del">
          <ac:chgData name="Connor Xu" userId="a2fa5610-7f85-41f8-9630-afc02cec4fa9" providerId="ADAL" clId="{57EAAC4B-D155-4C96-A5D6-9BC102C82EFF}" dt="2024-09-02T23:00:14.297" v="3656" actId="478"/>
          <ac:spMkLst>
            <pc:docMk/>
            <pc:sldMk cId="4208571328" sldId="2147471596"/>
            <ac:spMk id="54" creationId="{8FBB5795-9368-0A3D-5101-C93168510D6F}"/>
          </ac:spMkLst>
        </pc:spChg>
        <pc:spChg chg="del">
          <ac:chgData name="Connor Xu" userId="a2fa5610-7f85-41f8-9630-afc02cec4fa9" providerId="ADAL" clId="{57EAAC4B-D155-4C96-A5D6-9BC102C82EFF}" dt="2024-09-02T23:00:14.297" v="3656" actId="478"/>
          <ac:spMkLst>
            <pc:docMk/>
            <pc:sldMk cId="4208571328" sldId="2147471596"/>
            <ac:spMk id="55" creationId="{DAC982FF-2B12-E8CD-0998-435E7FEAADA5}"/>
          </ac:spMkLst>
        </pc:spChg>
        <pc:spChg chg="del">
          <ac:chgData name="Connor Xu" userId="a2fa5610-7f85-41f8-9630-afc02cec4fa9" providerId="ADAL" clId="{57EAAC4B-D155-4C96-A5D6-9BC102C82EFF}" dt="2024-09-02T23:00:14.297" v="3656" actId="478"/>
          <ac:spMkLst>
            <pc:docMk/>
            <pc:sldMk cId="4208571328" sldId="2147471596"/>
            <ac:spMk id="56" creationId="{35E82B8F-D282-2A7B-F725-A6A0C265B0EB}"/>
          </ac:spMkLst>
        </pc:spChg>
        <pc:spChg chg="mod">
          <ac:chgData name="Connor Xu" userId="a2fa5610-7f85-41f8-9630-afc02cec4fa9" providerId="ADAL" clId="{57EAAC4B-D155-4C96-A5D6-9BC102C82EFF}" dt="2024-09-02T22:57:42.266" v="3602" actId="20577"/>
          <ac:spMkLst>
            <pc:docMk/>
            <pc:sldMk cId="4208571328" sldId="2147471596"/>
            <ac:spMk id="67" creationId="{800F51D6-CA61-A0A1-3794-7E280C4D7407}"/>
          </ac:spMkLst>
        </pc:spChg>
        <pc:spChg chg="del">
          <ac:chgData name="Connor Xu" userId="a2fa5610-7f85-41f8-9630-afc02cec4fa9" providerId="ADAL" clId="{57EAAC4B-D155-4C96-A5D6-9BC102C82EFF}" dt="2024-09-02T22:54:19.942" v="3529" actId="478"/>
          <ac:spMkLst>
            <pc:docMk/>
            <pc:sldMk cId="4208571328" sldId="2147471596"/>
            <ac:spMk id="68" creationId="{ED2D2531-9CD8-39BC-2F1A-E53E2AD43A73}"/>
          </ac:spMkLst>
        </pc:spChg>
        <pc:grpChg chg="add del mod">
          <ac:chgData name="Connor Xu" userId="a2fa5610-7f85-41f8-9630-afc02cec4fa9" providerId="ADAL" clId="{57EAAC4B-D155-4C96-A5D6-9BC102C82EFF}" dt="2024-09-04T04:39:50.754" v="10249" actId="165"/>
          <ac:grpSpMkLst>
            <pc:docMk/>
            <pc:sldMk cId="4208571328" sldId="2147471596"/>
            <ac:grpSpMk id="4" creationId="{B9B388CF-BA27-3910-0F58-610312BDD7E6}"/>
          </ac:grpSpMkLst>
        </pc:grpChg>
        <pc:grpChg chg="add del mod">
          <ac:chgData name="Connor Xu" userId="a2fa5610-7f85-41f8-9630-afc02cec4fa9" providerId="ADAL" clId="{57EAAC4B-D155-4C96-A5D6-9BC102C82EFF}" dt="2024-09-04T04:39:50.754" v="10249" actId="165"/>
          <ac:grpSpMkLst>
            <pc:docMk/>
            <pc:sldMk cId="4208571328" sldId="2147471596"/>
            <ac:grpSpMk id="6" creationId="{8E627DF4-CF32-A701-F486-C99CD240CDAF}"/>
          </ac:grpSpMkLst>
        </pc:grpChg>
        <pc:grpChg chg="add del mod">
          <ac:chgData name="Connor Xu" userId="a2fa5610-7f85-41f8-9630-afc02cec4fa9" providerId="ADAL" clId="{57EAAC4B-D155-4C96-A5D6-9BC102C82EFF}" dt="2024-09-04T04:39:50.754" v="10249" actId="165"/>
          <ac:grpSpMkLst>
            <pc:docMk/>
            <pc:sldMk cId="4208571328" sldId="2147471596"/>
            <ac:grpSpMk id="7" creationId="{239B2E12-1F3E-1CFF-2057-EF59E82E1BED}"/>
          </ac:grpSpMkLst>
        </pc:grpChg>
        <pc:grpChg chg="add del mod">
          <ac:chgData name="Connor Xu" userId="a2fa5610-7f85-41f8-9630-afc02cec4fa9" providerId="ADAL" clId="{57EAAC4B-D155-4C96-A5D6-9BC102C82EFF}" dt="2024-09-04T04:39:50.754" v="10249" actId="165"/>
          <ac:grpSpMkLst>
            <pc:docMk/>
            <pc:sldMk cId="4208571328" sldId="2147471596"/>
            <ac:grpSpMk id="10" creationId="{FAA8B31D-533C-422B-5643-27FA961CF2BF}"/>
          </ac:grpSpMkLst>
        </pc:grpChg>
        <pc:grpChg chg="add del mod">
          <ac:chgData name="Connor Xu" userId="a2fa5610-7f85-41f8-9630-afc02cec4fa9" providerId="ADAL" clId="{57EAAC4B-D155-4C96-A5D6-9BC102C82EFF}" dt="2024-09-04T04:39:50.754" v="10249" actId="165"/>
          <ac:grpSpMkLst>
            <pc:docMk/>
            <pc:sldMk cId="4208571328" sldId="2147471596"/>
            <ac:grpSpMk id="11" creationId="{33685415-8249-AC4D-9579-25D9F2F85FAA}"/>
          </ac:grpSpMkLst>
        </pc:grpChg>
        <pc:grpChg chg="add del mod">
          <ac:chgData name="Connor Xu" userId="a2fa5610-7f85-41f8-9630-afc02cec4fa9" providerId="ADAL" clId="{57EAAC4B-D155-4C96-A5D6-9BC102C82EFF}" dt="2024-09-04T04:39:50.754" v="10249" actId="165"/>
          <ac:grpSpMkLst>
            <pc:docMk/>
            <pc:sldMk cId="4208571328" sldId="2147471596"/>
            <ac:grpSpMk id="12" creationId="{7A398421-773A-018A-11CA-49D568BC9ECB}"/>
          </ac:grpSpMkLst>
        </pc:grpChg>
        <pc:grpChg chg="add mod">
          <ac:chgData name="Connor Xu" userId="a2fa5610-7f85-41f8-9630-afc02cec4fa9" providerId="ADAL" clId="{57EAAC4B-D155-4C96-A5D6-9BC102C82EFF}" dt="2024-09-04T04:40:39.656" v="10274" actId="555"/>
          <ac:grpSpMkLst>
            <pc:docMk/>
            <pc:sldMk cId="4208571328" sldId="2147471596"/>
            <ac:grpSpMk id="13" creationId="{FA358575-AA0A-3F34-093C-EA852550E071}"/>
          </ac:grpSpMkLst>
        </pc:grpChg>
        <pc:grpChg chg="add mod">
          <ac:chgData name="Connor Xu" userId="a2fa5610-7f85-41f8-9630-afc02cec4fa9" providerId="ADAL" clId="{57EAAC4B-D155-4C96-A5D6-9BC102C82EFF}" dt="2024-09-04T04:40:45.138" v="10275" actId="465"/>
          <ac:grpSpMkLst>
            <pc:docMk/>
            <pc:sldMk cId="4208571328" sldId="2147471596"/>
            <ac:grpSpMk id="14" creationId="{9FA7CE40-9B92-F878-5AC4-A5FF1DC99DB6}"/>
          </ac:grpSpMkLst>
        </pc:grpChg>
        <pc:grpChg chg="add mod">
          <ac:chgData name="Connor Xu" userId="a2fa5610-7f85-41f8-9630-afc02cec4fa9" providerId="ADAL" clId="{57EAAC4B-D155-4C96-A5D6-9BC102C82EFF}" dt="2024-09-04T04:40:23.188" v="10270" actId="164"/>
          <ac:grpSpMkLst>
            <pc:docMk/>
            <pc:sldMk cId="4208571328" sldId="2147471596"/>
            <ac:grpSpMk id="15" creationId="{05BDE9E4-AC1A-435E-ED44-47DBCDC0E390}"/>
          </ac:grpSpMkLst>
        </pc:grpChg>
        <pc:grpChg chg="add mod">
          <ac:chgData name="Connor Xu" userId="a2fa5610-7f85-41f8-9630-afc02cec4fa9" providerId="ADAL" clId="{57EAAC4B-D155-4C96-A5D6-9BC102C82EFF}" dt="2024-09-04T04:40:27.443" v="10271" actId="164"/>
          <ac:grpSpMkLst>
            <pc:docMk/>
            <pc:sldMk cId="4208571328" sldId="2147471596"/>
            <ac:grpSpMk id="16" creationId="{7A1D2D98-F35A-9CAD-BFE3-E5262A316622}"/>
          </ac:grpSpMkLst>
        </pc:grpChg>
        <pc:grpChg chg="add mod">
          <ac:chgData name="Connor Xu" userId="a2fa5610-7f85-41f8-9630-afc02cec4fa9" providerId="ADAL" clId="{57EAAC4B-D155-4C96-A5D6-9BC102C82EFF}" dt="2024-09-04T04:40:50.497" v="10278" actId="465"/>
          <ac:grpSpMkLst>
            <pc:docMk/>
            <pc:sldMk cId="4208571328" sldId="2147471596"/>
            <ac:grpSpMk id="17" creationId="{005D1366-4113-57FB-46CE-446E33ECEA5A}"/>
          </ac:grpSpMkLst>
        </pc:grpChg>
        <pc:grpChg chg="add mod">
          <ac:chgData name="Connor Xu" userId="a2fa5610-7f85-41f8-9630-afc02cec4fa9" providerId="ADAL" clId="{57EAAC4B-D155-4C96-A5D6-9BC102C82EFF}" dt="2024-09-04T04:40:39.656" v="10274" actId="555"/>
          <ac:grpSpMkLst>
            <pc:docMk/>
            <pc:sldMk cId="4208571328" sldId="2147471596"/>
            <ac:grpSpMk id="18" creationId="{8E33B018-772B-FABC-526C-FBE90C1CD72F}"/>
          </ac:grpSpMkLst>
        </pc:grpChg>
      </pc:sldChg>
      <pc:sldChg chg="modSp mod">
        <pc:chgData name="Connor Xu" userId="a2fa5610-7f85-41f8-9630-afc02cec4fa9" providerId="ADAL" clId="{57EAAC4B-D155-4C96-A5D6-9BC102C82EFF}" dt="2024-09-04T04:34:24.802" v="10137" actId="113"/>
        <pc:sldMkLst>
          <pc:docMk/>
          <pc:sldMk cId="2083619045" sldId="2147471602"/>
        </pc:sldMkLst>
        <pc:spChg chg="mod">
          <ac:chgData name="Connor Xu" userId="a2fa5610-7f85-41f8-9630-afc02cec4fa9" providerId="ADAL" clId="{57EAAC4B-D155-4C96-A5D6-9BC102C82EFF}" dt="2024-09-04T04:34:24.802" v="10137" actId="113"/>
          <ac:spMkLst>
            <pc:docMk/>
            <pc:sldMk cId="2083619045" sldId="2147471602"/>
            <ac:spMk id="4" creationId="{74695963-93D3-CEED-3211-EA22860FE331}"/>
          </ac:spMkLst>
        </pc:spChg>
        <pc:spChg chg="mod">
          <ac:chgData name="Connor Xu" userId="a2fa5610-7f85-41f8-9630-afc02cec4fa9" providerId="ADAL" clId="{57EAAC4B-D155-4C96-A5D6-9BC102C82EFF}" dt="2024-09-04T04:33:21.996" v="10135" actId="2711"/>
          <ac:spMkLst>
            <pc:docMk/>
            <pc:sldMk cId="2083619045" sldId="2147471602"/>
            <ac:spMk id="5" creationId="{00000000-0000-0000-0000-000000000000}"/>
          </ac:spMkLst>
        </pc:spChg>
      </pc:sldChg>
      <pc:sldChg chg="modSp del mod">
        <pc:chgData name="Connor Xu" userId="a2fa5610-7f85-41f8-9630-afc02cec4fa9" providerId="ADAL" clId="{57EAAC4B-D155-4C96-A5D6-9BC102C82EFF}" dt="2024-09-02T23:22:19.632" v="4205" actId="47"/>
        <pc:sldMkLst>
          <pc:docMk/>
          <pc:sldMk cId="2973198158" sldId="2147471621"/>
        </pc:sldMkLst>
        <pc:spChg chg="mod">
          <ac:chgData name="Connor Xu" userId="a2fa5610-7f85-41f8-9630-afc02cec4fa9" providerId="ADAL" clId="{57EAAC4B-D155-4C96-A5D6-9BC102C82EFF}" dt="2024-09-02T23:17:00.210" v="4126" actId="20577"/>
          <ac:spMkLst>
            <pc:docMk/>
            <pc:sldMk cId="2973198158" sldId="2147471621"/>
            <ac:spMk id="4" creationId="{63B853BF-D0CC-A4EF-CF25-DFA6BF6720AE}"/>
          </ac:spMkLst>
        </pc:spChg>
        <pc:spChg chg="mod">
          <ac:chgData name="Connor Xu" userId="a2fa5610-7f85-41f8-9630-afc02cec4fa9" providerId="ADAL" clId="{57EAAC4B-D155-4C96-A5D6-9BC102C82EFF}" dt="2024-09-02T23:21:21.734" v="4186" actId="1035"/>
          <ac:spMkLst>
            <pc:docMk/>
            <pc:sldMk cId="2973198158" sldId="2147471621"/>
            <ac:spMk id="7" creationId="{8C365A0B-2556-628A-1B10-B9272F0E87E1}"/>
          </ac:spMkLst>
        </pc:spChg>
        <pc:spChg chg="mod">
          <ac:chgData name="Connor Xu" userId="a2fa5610-7f85-41f8-9630-afc02cec4fa9" providerId="ADAL" clId="{57EAAC4B-D155-4C96-A5D6-9BC102C82EFF}" dt="2024-09-02T23:21:21.734" v="4186" actId="1035"/>
          <ac:spMkLst>
            <pc:docMk/>
            <pc:sldMk cId="2973198158" sldId="2147471621"/>
            <ac:spMk id="11" creationId="{B5B1DC6F-EFD5-F289-B85B-DCDBF3B2C4A7}"/>
          </ac:spMkLst>
        </pc:spChg>
        <pc:spChg chg="mod">
          <ac:chgData name="Connor Xu" userId="a2fa5610-7f85-41f8-9630-afc02cec4fa9" providerId="ADAL" clId="{57EAAC4B-D155-4C96-A5D6-9BC102C82EFF}" dt="2024-09-02T23:21:21.734" v="4186" actId="1035"/>
          <ac:spMkLst>
            <pc:docMk/>
            <pc:sldMk cId="2973198158" sldId="2147471621"/>
            <ac:spMk id="12" creationId="{A22C8816-E021-3938-6380-200EB8D4FBF9}"/>
          </ac:spMkLst>
        </pc:spChg>
        <pc:spChg chg="mod">
          <ac:chgData name="Connor Xu" userId="a2fa5610-7f85-41f8-9630-afc02cec4fa9" providerId="ADAL" clId="{57EAAC4B-D155-4C96-A5D6-9BC102C82EFF}" dt="2024-09-02T23:21:21.734" v="4186" actId="1035"/>
          <ac:spMkLst>
            <pc:docMk/>
            <pc:sldMk cId="2973198158" sldId="2147471621"/>
            <ac:spMk id="13" creationId="{5AB3B52E-8117-B4AB-A0FC-5D7679F31D30}"/>
          </ac:spMkLst>
        </pc:spChg>
        <pc:spChg chg="mod">
          <ac:chgData name="Connor Xu" userId="a2fa5610-7f85-41f8-9630-afc02cec4fa9" providerId="ADAL" clId="{57EAAC4B-D155-4C96-A5D6-9BC102C82EFF}" dt="2024-09-02T23:21:16.404" v="4171" actId="20577"/>
          <ac:spMkLst>
            <pc:docMk/>
            <pc:sldMk cId="2973198158" sldId="2147471621"/>
            <ac:spMk id="14" creationId="{6189AE8B-1115-DE05-691B-C17C801FD947}"/>
          </ac:spMkLst>
        </pc:spChg>
        <pc:spChg chg="mod">
          <ac:chgData name="Connor Xu" userId="a2fa5610-7f85-41f8-9630-afc02cec4fa9" providerId="ADAL" clId="{57EAAC4B-D155-4C96-A5D6-9BC102C82EFF}" dt="2024-09-02T23:21:21.734" v="4186" actId="1035"/>
          <ac:spMkLst>
            <pc:docMk/>
            <pc:sldMk cId="2973198158" sldId="2147471621"/>
            <ac:spMk id="15" creationId="{272A743F-670D-D0EC-2C3E-E1351986464E}"/>
          </ac:spMkLst>
        </pc:spChg>
        <pc:spChg chg="mod">
          <ac:chgData name="Connor Xu" userId="a2fa5610-7f85-41f8-9630-afc02cec4fa9" providerId="ADAL" clId="{57EAAC4B-D155-4C96-A5D6-9BC102C82EFF}" dt="2024-09-02T23:21:21.734" v="4186" actId="1035"/>
          <ac:spMkLst>
            <pc:docMk/>
            <pc:sldMk cId="2973198158" sldId="2147471621"/>
            <ac:spMk id="19" creationId="{C62366E0-78A6-D3FF-6E46-3A743A8F223F}"/>
          </ac:spMkLst>
        </pc:spChg>
        <pc:spChg chg="mod">
          <ac:chgData name="Connor Xu" userId="a2fa5610-7f85-41f8-9630-afc02cec4fa9" providerId="ADAL" clId="{57EAAC4B-D155-4C96-A5D6-9BC102C82EFF}" dt="2024-09-02T23:21:21.734" v="4186" actId="1035"/>
          <ac:spMkLst>
            <pc:docMk/>
            <pc:sldMk cId="2973198158" sldId="2147471621"/>
            <ac:spMk id="23" creationId="{FAED6CEF-32B8-933A-1190-AF8549408C58}"/>
          </ac:spMkLst>
        </pc:spChg>
        <pc:spChg chg="mod">
          <ac:chgData name="Connor Xu" userId="a2fa5610-7f85-41f8-9630-afc02cec4fa9" providerId="ADAL" clId="{57EAAC4B-D155-4C96-A5D6-9BC102C82EFF}" dt="2024-09-02T23:21:21.734" v="4186" actId="1035"/>
          <ac:spMkLst>
            <pc:docMk/>
            <pc:sldMk cId="2973198158" sldId="2147471621"/>
            <ac:spMk id="25" creationId="{F6B0A2AF-E519-A6EC-679A-9E8C9874C1A3}"/>
          </ac:spMkLst>
        </pc:spChg>
        <pc:spChg chg="mod">
          <ac:chgData name="Connor Xu" userId="a2fa5610-7f85-41f8-9630-afc02cec4fa9" providerId="ADAL" clId="{57EAAC4B-D155-4C96-A5D6-9BC102C82EFF}" dt="2024-09-02T23:21:21.734" v="4186" actId="1035"/>
          <ac:spMkLst>
            <pc:docMk/>
            <pc:sldMk cId="2973198158" sldId="2147471621"/>
            <ac:spMk id="26" creationId="{0342D327-98E6-1A15-B7E9-7A2427DA09B9}"/>
          </ac:spMkLst>
        </pc:spChg>
        <pc:spChg chg="mod">
          <ac:chgData name="Connor Xu" userId="a2fa5610-7f85-41f8-9630-afc02cec4fa9" providerId="ADAL" clId="{57EAAC4B-D155-4C96-A5D6-9BC102C82EFF}" dt="2024-09-02T23:21:21.734" v="4186" actId="1035"/>
          <ac:spMkLst>
            <pc:docMk/>
            <pc:sldMk cId="2973198158" sldId="2147471621"/>
            <ac:spMk id="27" creationId="{1C3E5CB2-B07B-5AEA-17E3-E9BC3360C1CA}"/>
          </ac:spMkLst>
        </pc:spChg>
        <pc:spChg chg="mod">
          <ac:chgData name="Connor Xu" userId="a2fa5610-7f85-41f8-9630-afc02cec4fa9" providerId="ADAL" clId="{57EAAC4B-D155-4C96-A5D6-9BC102C82EFF}" dt="2024-09-02T23:21:21.734" v="4186" actId="1035"/>
          <ac:spMkLst>
            <pc:docMk/>
            <pc:sldMk cId="2973198158" sldId="2147471621"/>
            <ac:spMk id="28" creationId="{B8825A28-890B-9859-CE85-9C70C10E2431}"/>
          </ac:spMkLst>
        </pc:spChg>
        <pc:spChg chg="mod">
          <ac:chgData name="Connor Xu" userId="a2fa5610-7f85-41f8-9630-afc02cec4fa9" providerId="ADAL" clId="{57EAAC4B-D155-4C96-A5D6-9BC102C82EFF}" dt="2024-09-02T23:21:21.734" v="4186" actId="1035"/>
          <ac:spMkLst>
            <pc:docMk/>
            <pc:sldMk cId="2973198158" sldId="2147471621"/>
            <ac:spMk id="29" creationId="{AE2F8334-DBA2-4391-A242-1D6034A1FA21}"/>
          </ac:spMkLst>
        </pc:spChg>
      </pc:sldChg>
      <pc:sldChg chg="addSp delSp modSp mod">
        <pc:chgData name="Connor Xu" userId="a2fa5610-7f85-41f8-9630-afc02cec4fa9" providerId="ADAL" clId="{57EAAC4B-D155-4C96-A5D6-9BC102C82EFF}" dt="2024-09-04T04:37:21.101" v="10199" actId="1036"/>
        <pc:sldMkLst>
          <pc:docMk/>
          <pc:sldMk cId="2887098628" sldId="2147471648"/>
        </pc:sldMkLst>
        <pc:spChg chg="mod">
          <ac:chgData name="Connor Xu" userId="a2fa5610-7f85-41f8-9630-afc02cec4fa9" providerId="ADAL" clId="{57EAAC4B-D155-4C96-A5D6-9BC102C82EFF}" dt="2024-09-04T04:30:26.916" v="10132" actId="2711"/>
          <ac:spMkLst>
            <pc:docMk/>
            <pc:sldMk cId="2887098628" sldId="2147471648"/>
            <ac:spMk id="3" creationId="{80CE8119-45A9-B497-B743-3798888405B8}"/>
          </ac:spMkLst>
        </pc:spChg>
        <pc:spChg chg="add mod">
          <ac:chgData name="Connor Xu" userId="a2fa5610-7f85-41f8-9630-afc02cec4fa9" providerId="ADAL" clId="{57EAAC4B-D155-4C96-A5D6-9BC102C82EFF}" dt="2024-09-03T03:00:01.455" v="10102" actId="20577"/>
          <ac:spMkLst>
            <pc:docMk/>
            <pc:sldMk cId="2887098628" sldId="2147471648"/>
            <ac:spMk id="4" creationId="{5BE56102-969D-60C5-E08D-D27432E3F129}"/>
          </ac:spMkLst>
        </pc:spChg>
        <pc:spChg chg="mod">
          <ac:chgData name="Connor Xu" userId="a2fa5610-7f85-41f8-9630-afc02cec4fa9" providerId="ADAL" clId="{57EAAC4B-D155-4C96-A5D6-9BC102C82EFF}" dt="2024-09-04T04:36:40.871" v="10186" actId="14100"/>
          <ac:spMkLst>
            <pc:docMk/>
            <pc:sldMk cId="2887098628" sldId="2147471648"/>
            <ac:spMk id="5" creationId="{414FB662-191A-6AE4-B396-41A4E291EEB6}"/>
          </ac:spMkLst>
        </pc:spChg>
        <pc:spChg chg="add mod">
          <ac:chgData name="Connor Xu" userId="a2fa5610-7f85-41f8-9630-afc02cec4fa9" providerId="ADAL" clId="{57EAAC4B-D155-4C96-A5D6-9BC102C82EFF}" dt="2024-09-02T07:20:27.900" v="1808" actId="571"/>
          <ac:spMkLst>
            <pc:docMk/>
            <pc:sldMk cId="2887098628" sldId="2147471648"/>
            <ac:spMk id="6" creationId="{363EEF31-6FB5-9D39-B1C0-74B9415AFDEA}"/>
          </ac:spMkLst>
        </pc:spChg>
        <pc:spChg chg="del">
          <ac:chgData name="Connor Xu" userId="a2fa5610-7f85-41f8-9630-afc02cec4fa9" providerId="ADAL" clId="{57EAAC4B-D155-4C96-A5D6-9BC102C82EFF}" dt="2024-09-02T06:45:15.755" v="635" actId="478"/>
          <ac:spMkLst>
            <pc:docMk/>
            <pc:sldMk cId="2887098628" sldId="2147471648"/>
            <ac:spMk id="9" creationId="{FEC86742-2DCC-8A0C-1C09-3A144DC147FE}"/>
          </ac:spMkLst>
        </pc:spChg>
        <pc:spChg chg="mod">
          <ac:chgData name="Connor Xu" userId="a2fa5610-7f85-41f8-9630-afc02cec4fa9" providerId="ADAL" clId="{57EAAC4B-D155-4C96-A5D6-9BC102C82EFF}" dt="2024-09-02T23:29:08.141" v="4466" actId="403"/>
          <ac:spMkLst>
            <pc:docMk/>
            <pc:sldMk cId="2887098628" sldId="2147471648"/>
            <ac:spMk id="13" creationId="{0B97B9F7-FF65-85B1-EEB7-8A841D8AA593}"/>
          </ac:spMkLst>
        </pc:spChg>
        <pc:spChg chg="add del mod">
          <ac:chgData name="Connor Xu" userId="a2fa5610-7f85-41f8-9630-afc02cec4fa9" providerId="ADAL" clId="{57EAAC4B-D155-4C96-A5D6-9BC102C82EFF}" dt="2024-09-04T04:37:16.470" v="10187" actId="20577"/>
          <ac:spMkLst>
            <pc:docMk/>
            <pc:sldMk cId="2887098628" sldId="2147471648"/>
            <ac:spMk id="15" creationId="{5A26544D-C393-6411-1B4F-4C4D5606DA2E}"/>
          </ac:spMkLst>
        </pc:spChg>
        <pc:spChg chg="del">
          <ac:chgData name="Connor Xu" userId="a2fa5610-7f85-41f8-9630-afc02cec4fa9" providerId="ADAL" clId="{57EAAC4B-D155-4C96-A5D6-9BC102C82EFF}" dt="2024-09-02T06:38:57.253" v="138" actId="478"/>
          <ac:spMkLst>
            <pc:docMk/>
            <pc:sldMk cId="2887098628" sldId="2147471648"/>
            <ac:spMk id="19" creationId="{D2860AE9-3C37-D225-64F0-ABD032FC13B3}"/>
          </ac:spMkLst>
        </pc:spChg>
        <pc:spChg chg="mod">
          <ac:chgData name="Connor Xu" userId="a2fa5610-7f85-41f8-9630-afc02cec4fa9" providerId="ADAL" clId="{57EAAC4B-D155-4C96-A5D6-9BC102C82EFF}" dt="2024-09-04T04:36:01.845" v="10144" actId="255"/>
          <ac:spMkLst>
            <pc:docMk/>
            <pc:sldMk cId="2887098628" sldId="2147471648"/>
            <ac:spMk id="21" creationId="{FB2D641F-7EE6-BED9-C5FC-DF6B9F5C3E5D}"/>
          </ac:spMkLst>
        </pc:spChg>
        <pc:spChg chg="mod">
          <ac:chgData name="Connor Xu" userId="a2fa5610-7f85-41f8-9630-afc02cec4fa9" providerId="ADAL" clId="{57EAAC4B-D155-4C96-A5D6-9BC102C82EFF}" dt="2024-09-04T04:36:38.502" v="10185" actId="14100"/>
          <ac:spMkLst>
            <pc:docMk/>
            <pc:sldMk cId="2887098628" sldId="2147471648"/>
            <ac:spMk id="24" creationId="{A68786C5-0F08-67B4-EF2E-B2FD83DED675}"/>
          </ac:spMkLst>
        </pc:spChg>
        <pc:spChg chg="mod">
          <ac:chgData name="Connor Xu" userId="a2fa5610-7f85-41f8-9630-afc02cec4fa9" providerId="ADAL" clId="{57EAAC4B-D155-4C96-A5D6-9BC102C82EFF}" dt="2024-09-02T23:29:08.141" v="4466" actId="403"/>
          <ac:spMkLst>
            <pc:docMk/>
            <pc:sldMk cId="2887098628" sldId="2147471648"/>
            <ac:spMk id="25" creationId="{7468EDA2-3039-B298-282F-E1688E17F2A3}"/>
          </ac:spMkLst>
        </pc:spChg>
        <pc:spChg chg="del">
          <ac:chgData name="Connor Xu" userId="a2fa5610-7f85-41f8-9630-afc02cec4fa9" providerId="ADAL" clId="{57EAAC4B-D155-4C96-A5D6-9BC102C82EFF}" dt="2024-09-02T06:42:37.611" v="469" actId="478"/>
          <ac:spMkLst>
            <pc:docMk/>
            <pc:sldMk cId="2887098628" sldId="2147471648"/>
            <ac:spMk id="27" creationId="{AEA5C639-BA12-DE73-D44D-B729A06D9A93}"/>
          </ac:spMkLst>
        </pc:spChg>
        <pc:spChg chg="del">
          <ac:chgData name="Connor Xu" userId="a2fa5610-7f85-41f8-9630-afc02cec4fa9" providerId="ADAL" clId="{57EAAC4B-D155-4C96-A5D6-9BC102C82EFF}" dt="2024-09-02T06:42:37.611" v="469" actId="478"/>
          <ac:spMkLst>
            <pc:docMk/>
            <pc:sldMk cId="2887098628" sldId="2147471648"/>
            <ac:spMk id="28" creationId="{7961C939-47A3-AC57-1D78-853DBCF02E98}"/>
          </ac:spMkLst>
        </pc:spChg>
        <pc:grpChg chg="mod">
          <ac:chgData name="Connor Xu" userId="a2fa5610-7f85-41f8-9630-afc02cec4fa9" providerId="ADAL" clId="{57EAAC4B-D155-4C96-A5D6-9BC102C82EFF}" dt="2024-09-04T04:37:21.101" v="10199" actId="1036"/>
          <ac:grpSpMkLst>
            <pc:docMk/>
            <pc:sldMk cId="2887098628" sldId="2147471648"/>
            <ac:grpSpMk id="2" creationId="{783E8177-4E17-C2F0-B7A6-5F4AAF0C5FFD}"/>
          </ac:grpSpMkLst>
        </pc:grpChg>
        <pc:grpChg chg="del">
          <ac:chgData name="Connor Xu" userId="a2fa5610-7f85-41f8-9630-afc02cec4fa9" providerId="ADAL" clId="{57EAAC4B-D155-4C96-A5D6-9BC102C82EFF}" dt="2024-09-02T06:38:57.253" v="138" actId="478"/>
          <ac:grpSpMkLst>
            <pc:docMk/>
            <pc:sldMk cId="2887098628" sldId="2147471648"/>
            <ac:grpSpMk id="18" creationId="{C27CAC66-62BD-F798-31EE-2A285CBD3569}"/>
          </ac:grpSpMkLst>
        </pc:grpChg>
        <pc:grpChg chg="del">
          <ac:chgData name="Connor Xu" userId="a2fa5610-7f85-41f8-9630-afc02cec4fa9" providerId="ADAL" clId="{57EAAC4B-D155-4C96-A5D6-9BC102C82EFF}" dt="2024-09-02T06:42:37.611" v="469" actId="478"/>
          <ac:grpSpMkLst>
            <pc:docMk/>
            <pc:sldMk cId="2887098628" sldId="2147471648"/>
            <ac:grpSpMk id="26" creationId="{D3A1C014-C3EB-FF06-80DF-A27C1B48681C}"/>
          </ac:grpSpMkLst>
        </pc:grpChg>
      </pc:sldChg>
      <pc:sldChg chg="addSp delSp modSp mod">
        <pc:chgData name="Connor Xu" userId="a2fa5610-7f85-41f8-9630-afc02cec4fa9" providerId="ADAL" clId="{57EAAC4B-D155-4C96-A5D6-9BC102C82EFF}" dt="2024-09-04T04:46:07.098" v="10345" actId="403"/>
        <pc:sldMkLst>
          <pc:docMk/>
          <pc:sldMk cId="1234428817" sldId="2147471653"/>
        </pc:sldMkLst>
        <pc:spChg chg="mod">
          <ac:chgData name="Connor Xu" userId="a2fa5610-7f85-41f8-9630-afc02cec4fa9" providerId="ADAL" clId="{57EAAC4B-D155-4C96-A5D6-9BC102C82EFF}" dt="2024-09-02T23:52:04.685" v="5055" actId="20577"/>
          <ac:spMkLst>
            <pc:docMk/>
            <pc:sldMk cId="1234428817" sldId="2147471653"/>
            <ac:spMk id="2" creationId="{421CE8BB-9964-A834-990C-0EEC2F4615AC}"/>
          </ac:spMkLst>
        </pc:spChg>
        <pc:spChg chg="add mod">
          <ac:chgData name="Connor Xu" userId="a2fa5610-7f85-41f8-9630-afc02cec4fa9" providerId="ADAL" clId="{57EAAC4B-D155-4C96-A5D6-9BC102C82EFF}" dt="2024-09-02T23:55:42.201" v="5679" actId="571"/>
          <ac:spMkLst>
            <pc:docMk/>
            <pc:sldMk cId="1234428817" sldId="2147471653"/>
            <ac:spMk id="3" creationId="{8F1ACD9A-5EE9-3153-312B-0F42898E7091}"/>
          </ac:spMkLst>
        </pc:spChg>
        <pc:spChg chg="del mod">
          <ac:chgData name="Connor Xu" userId="a2fa5610-7f85-41f8-9630-afc02cec4fa9" providerId="ADAL" clId="{57EAAC4B-D155-4C96-A5D6-9BC102C82EFF}" dt="2024-09-02T23:51:46.459" v="4985" actId="478"/>
          <ac:spMkLst>
            <pc:docMk/>
            <pc:sldMk cId="1234428817" sldId="2147471653"/>
            <ac:spMk id="7" creationId="{8ACE17F9-CFF4-F7A5-1ABB-C06ACC99195C}"/>
          </ac:spMkLst>
        </pc:spChg>
        <pc:spChg chg="del">
          <ac:chgData name="Connor Xu" userId="a2fa5610-7f85-41f8-9630-afc02cec4fa9" providerId="ADAL" clId="{57EAAC4B-D155-4C96-A5D6-9BC102C82EFF}" dt="2024-09-02T23:51:43.136" v="4982" actId="478"/>
          <ac:spMkLst>
            <pc:docMk/>
            <pc:sldMk cId="1234428817" sldId="2147471653"/>
            <ac:spMk id="12" creationId="{8F3F0C1C-6D78-F0E1-B399-70B9EF6CF5DB}"/>
          </ac:spMkLst>
        </pc:spChg>
        <pc:spChg chg="mod">
          <ac:chgData name="Connor Xu" userId="a2fa5610-7f85-41f8-9630-afc02cec4fa9" providerId="ADAL" clId="{57EAAC4B-D155-4C96-A5D6-9BC102C82EFF}" dt="2024-09-02T23:52:44.077" v="5282" actId="403"/>
          <ac:spMkLst>
            <pc:docMk/>
            <pc:sldMk cId="1234428817" sldId="2147471653"/>
            <ac:spMk id="15" creationId="{88044BCB-EFE0-3A33-CE60-23C8FDEAF27B}"/>
          </ac:spMkLst>
        </pc:spChg>
        <pc:spChg chg="mod">
          <ac:chgData name="Connor Xu" userId="a2fa5610-7f85-41f8-9630-afc02cec4fa9" providerId="ADAL" clId="{57EAAC4B-D155-4C96-A5D6-9BC102C82EFF}" dt="2024-09-02T23:55:42.201" v="5679" actId="571"/>
          <ac:spMkLst>
            <pc:docMk/>
            <pc:sldMk cId="1234428817" sldId="2147471653"/>
            <ac:spMk id="16" creationId="{57C8889D-0D77-1A87-79D8-6DD53F287691}"/>
          </ac:spMkLst>
        </pc:spChg>
        <pc:spChg chg="mod">
          <ac:chgData name="Connor Xu" userId="a2fa5610-7f85-41f8-9630-afc02cec4fa9" providerId="ADAL" clId="{57EAAC4B-D155-4C96-A5D6-9BC102C82EFF}" dt="2024-09-02T23:55:42.201" v="5679" actId="571"/>
          <ac:spMkLst>
            <pc:docMk/>
            <pc:sldMk cId="1234428817" sldId="2147471653"/>
            <ac:spMk id="17" creationId="{8FB04B04-90C1-DB3D-BA9A-9BA4944A0FB0}"/>
          </ac:spMkLst>
        </pc:spChg>
        <pc:spChg chg="mod">
          <ac:chgData name="Connor Xu" userId="a2fa5610-7f85-41f8-9630-afc02cec4fa9" providerId="ADAL" clId="{57EAAC4B-D155-4C96-A5D6-9BC102C82EFF}" dt="2024-09-02T23:55:42.201" v="5679" actId="571"/>
          <ac:spMkLst>
            <pc:docMk/>
            <pc:sldMk cId="1234428817" sldId="2147471653"/>
            <ac:spMk id="18" creationId="{4D7922B6-FF71-1D89-A077-F31397CDE2FF}"/>
          </ac:spMkLst>
        </pc:spChg>
        <pc:spChg chg="mod">
          <ac:chgData name="Connor Xu" userId="a2fa5610-7f85-41f8-9630-afc02cec4fa9" providerId="ADAL" clId="{57EAAC4B-D155-4C96-A5D6-9BC102C82EFF}" dt="2024-09-02T23:55:42.201" v="5679" actId="571"/>
          <ac:spMkLst>
            <pc:docMk/>
            <pc:sldMk cId="1234428817" sldId="2147471653"/>
            <ac:spMk id="19" creationId="{FE7F5BA4-0C56-9280-638F-F061DBF2ABAB}"/>
          </ac:spMkLst>
        </pc:spChg>
        <pc:spChg chg="add mod">
          <ac:chgData name="Connor Xu" userId="a2fa5610-7f85-41f8-9630-afc02cec4fa9" providerId="ADAL" clId="{57EAAC4B-D155-4C96-A5D6-9BC102C82EFF}" dt="2024-09-02T23:55:42.201" v="5679" actId="571"/>
          <ac:spMkLst>
            <pc:docMk/>
            <pc:sldMk cId="1234428817" sldId="2147471653"/>
            <ac:spMk id="20" creationId="{CF24746B-6D9E-2B20-B080-5F52C4C66D79}"/>
          </ac:spMkLst>
        </pc:spChg>
        <pc:spChg chg="add mod">
          <ac:chgData name="Connor Xu" userId="a2fa5610-7f85-41f8-9630-afc02cec4fa9" providerId="ADAL" clId="{57EAAC4B-D155-4C96-A5D6-9BC102C82EFF}" dt="2024-09-02T23:55:41.999" v="5678" actId="571"/>
          <ac:spMkLst>
            <pc:docMk/>
            <pc:sldMk cId="1234428817" sldId="2147471653"/>
            <ac:spMk id="21" creationId="{BFE56F2F-C429-6110-1461-377C483C5612}"/>
          </ac:spMkLst>
        </pc:spChg>
        <pc:spChg chg="mod">
          <ac:chgData name="Connor Xu" userId="a2fa5610-7f85-41f8-9630-afc02cec4fa9" providerId="ADAL" clId="{57EAAC4B-D155-4C96-A5D6-9BC102C82EFF}" dt="2024-09-02T23:55:41.999" v="5678" actId="571"/>
          <ac:spMkLst>
            <pc:docMk/>
            <pc:sldMk cId="1234428817" sldId="2147471653"/>
            <ac:spMk id="25" creationId="{A87AF652-BA63-7004-FA61-A24D04A70ECA}"/>
          </ac:spMkLst>
        </pc:spChg>
        <pc:spChg chg="mod">
          <ac:chgData name="Connor Xu" userId="a2fa5610-7f85-41f8-9630-afc02cec4fa9" providerId="ADAL" clId="{57EAAC4B-D155-4C96-A5D6-9BC102C82EFF}" dt="2024-09-02T23:55:41.999" v="5678" actId="571"/>
          <ac:spMkLst>
            <pc:docMk/>
            <pc:sldMk cId="1234428817" sldId="2147471653"/>
            <ac:spMk id="26" creationId="{5794CFB7-6EA2-BAD5-C220-97A717E7125B}"/>
          </ac:spMkLst>
        </pc:spChg>
        <pc:spChg chg="mod">
          <ac:chgData name="Connor Xu" userId="a2fa5610-7f85-41f8-9630-afc02cec4fa9" providerId="ADAL" clId="{57EAAC4B-D155-4C96-A5D6-9BC102C82EFF}" dt="2024-09-02T23:55:41.999" v="5678" actId="571"/>
          <ac:spMkLst>
            <pc:docMk/>
            <pc:sldMk cId="1234428817" sldId="2147471653"/>
            <ac:spMk id="27" creationId="{7EBA933F-1404-24F2-A658-81BD155CEF29}"/>
          </ac:spMkLst>
        </pc:spChg>
        <pc:spChg chg="mod">
          <ac:chgData name="Connor Xu" userId="a2fa5610-7f85-41f8-9630-afc02cec4fa9" providerId="ADAL" clId="{57EAAC4B-D155-4C96-A5D6-9BC102C82EFF}" dt="2024-09-02T23:55:41.999" v="5678" actId="571"/>
          <ac:spMkLst>
            <pc:docMk/>
            <pc:sldMk cId="1234428817" sldId="2147471653"/>
            <ac:spMk id="28" creationId="{290F7616-F59F-8D45-C4C5-04BB5E03DA87}"/>
          </ac:spMkLst>
        </pc:spChg>
        <pc:spChg chg="add mod">
          <ac:chgData name="Connor Xu" userId="a2fa5610-7f85-41f8-9630-afc02cec4fa9" providerId="ADAL" clId="{57EAAC4B-D155-4C96-A5D6-9BC102C82EFF}" dt="2024-09-02T23:55:41.999" v="5678" actId="571"/>
          <ac:spMkLst>
            <pc:docMk/>
            <pc:sldMk cId="1234428817" sldId="2147471653"/>
            <ac:spMk id="29" creationId="{C9C1FFB8-765A-ABD3-E545-0019352A8AC3}"/>
          </ac:spMkLst>
        </pc:spChg>
        <pc:spChg chg="mod topLvl">
          <ac:chgData name="Connor Xu" userId="a2fa5610-7f85-41f8-9630-afc02cec4fa9" providerId="ADAL" clId="{57EAAC4B-D155-4C96-A5D6-9BC102C82EFF}" dt="2024-09-04T04:46:04.555" v="10344" actId="403"/>
          <ac:spMkLst>
            <pc:docMk/>
            <pc:sldMk cId="1234428817" sldId="2147471653"/>
            <ac:spMk id="30" creationId="{189870B5-3BD3-B1B8-E723-ED7702045A6C}"/>
          </ac:spMkLst>
        </pc:spChg>
        <pc:spChg chg="add mod topLvl">
          <ac:chgData name="Connor Xu" userId="a2fa5610-7f85-41f8-9630-afc02cec4fa9" providerId="ADAL" clId="{57EAAC4B-D155-4C96-A5D6-9BC102C82EFF}" dt="2024-09-04T04:46:07.098" v="10345" actId="403"/>
          <ac:spMkLst>
            <pc:docMk/>
            <pc:sldMk cId="1234428817" sldId="2147471653"/>
            <ac:spMk id="32" creationId="{2AF30CC0-AE14-74C7-54D4-63D11E8B0247}"/>
          </ac:spMkLst>
        </pc:spChg>
        <pc:spChg chg="mod">
          <ac:chgData name="Connor Xu" userId="a2fa5610-7f85-41f8-9630-afc02cec4fa9" providerId="ADAL" clId="{57EAAC4B-D155-4C96-A5D6-9BC102C82EFF}" dt="2024-09-04T04:41:39.443" v="10286" actId="165"/>
          <ac:spMkLst>
            <pc:docMk/>
            <pc:sldMk cId="1234428817" sldId="2147471653"/>
            <ac:spMk id="36" creationId="{662E61FE-708E-752E-1739-3ABF2A2B0AA7}"/>
          </ac:spMkLst>
        </pc:spChg>
        <pc:spChg chg="mod">
          <ac:chgData name="Connor Xu" userId="a2fa5610-7f85-41f8-9630-afc02cec4fa9" providerId="ADAL" clId="{57EAAC4B-D155-4C96-A5D6-9BC102C82EFF}" dt="2024-09-04T04:41:39.443" v="10286" actId="165"/>
          <ac:spMkLst>
            <pc:docMk/>
            <pc:sldMk cId="1234428817" sldId="2147471653"/>
            <ac:spMk id="37" creationId="{44A36DB2-08DB-7764-14D3-C36E3DC45EBA}"/>
          </ac:spMkLst>
        </pc:spChg>
        <pc:spChg chg="mod">
          <ac:chgData name="Connor Xu" userId="a2fa5610-7f85-41f8-9630-afc02cec4fa9" providerId="ADAL" clId="{57EAAC4B-D155-4C96-A5D6-9BC102C82EFF}" dt="2024-09-04T04:41:39.443" v="10286" actId="165"/>
          <ac:spMkLst>
            <pc:docMk/>
            <pc:sldMk cId="1234428817" sldId="2147471653"/>
            <ac:spMk id="38" creationId="{573DA496-8389-E72C-3475-D525346B6E81}"/>
          </ac:spMkLst>
        </pc:spChg>
        <pc:spChg chg="mod">
          <ac:chgData name="Connor Xu" userId="a2fa5610-7f85-41f8-9630-afc02cec4fa9" providerId="ADAL" clId="{57EAAC4B-D155-4C96-A5D6-9BC102C82EFF}" dt="2024-09-04T04:41:39.443" v="10286" actId="165"/>
          <ac:spMkLst>
            <pc:docMk/>
            <pc:sldMk cId="1234428817" sldId="2147471653"/>
            <ac:spMk id="39" creationId="{B925B418-111D-8EC5-E1E7-954E5860F737}"/>
          </ac:spMkLst>
        </pc:spChg>
        <pc:spChg chg="add mod topLvl">
          <ac:chgData name="Connor Xu" userId="a2fa5610-7f85-41f8-9630-afc02cec4fa9" providerId="ADAL" clId="{57EAAC4B-D155-4C96-A5D6-9BC102C82EFF}" dt="2024-09-04T04:43:15.590" v="10313" actId="14100"/>
          <ac:spMkLst>
            <pc:docMk/>
            <pc:sldMk cId="1234428817" sldId="2147471653"/>
            <ac:spMk id="40" creationId="{2B08D256-0676-8D84-8FDC-C5BD1C254819}"/>
          </ac:spMkLst>
        </pc:spChg>
        <pc:spChg chg="del">
          <ac:chgData name="Connor Xu" userId="a2fa5610-7f85-41f8-9630-afc02cec4fa9" providerId="ADAL" clId="{57EAAC4B-D155-4C96-A5D6-9BC102C82EFF}" dt="2024-09-02T23:51:44.075" v="4983" actId="478"/>
          <ac:spMkLst>
            <pc:docMk/>
            <pc:sldMk cId="1234428817" sldId="2147471653"/>
            <ac:spMk id="41" creationId="{A3A14D17-8598-6F53-3B22-F8965A4C832B}"/>
          </ac:spMkLst>
        </pc:spChg>
        <pc:spChg chg="add mod topLvl">
          <ac:chgData name="Connor Xu" userId="a2fa5610-7f85-41f8-9630-afc02cec4fa9" providerId="ADAL" clId="{57EAAC4B-D155-4C96-A5D6-9BC102C82EFF}" dt="2024-09-04T04:46:01.505" v="10343" actId="403"/>
          <ac:spMkLst>
            <pc:docMk/>
            <pc:sldMk cId="1234428817" sldId="2147471653"/>
            <ac:spMk id="42" creationId="{AFA7F35F-405A-195B-0830-FEA8111794AB}"/>
          </ac:spMkLst>
        </pc:spChg>
        <pc:spChg chg="mod">
          <ac:chgData name="Connor Xu" userId="a2fa5610-7f85-41f8-9630-afc02cec4fa9" providerId="ADAL" clId="{57EAAC4B-D155-4C96-A5D6-9BC102C82EFF}" dt="2024-09-04T04:41:39.443" v="10286" actId="165"/>
          <ac:spMkLst>
            <pc:docMk/>
            <pc:sldMk cId="1234428817" sldId="2147471653"/>
            <ac:spMk id="47" creationId="{C591563B-A84F-AB78-D605-34EFC4BE6213}"/>
          </ac:spMkLst>
        </pc:spChg>
        <pc:spChg chg="mod">
          <ac:chgData name="Connor Xu" userId="a2fa5610-7f85-41f8-9630-afc02cec4fa9" providerId="ADAL" clId="{57EAAC4B-D155-4C96-A5D6-9BC102C82EFF}" dt="2024-09-04T04:41:39.443" v="10286" actId="165"/>
          <ac:spMkLst>
            <pc:docMk/>
            <pc:sldMk cId="1234428817" sldId="2147471653"/>
            <ac:spMk id="48" creationId="{E72A5BFB-0E63-0B27-0205-85ECA0CD0CDD}"/>
          </ac:spMkLst>
        </pc:spChg>
        <pc:spChg chg="mod">
          <ac:chgData name="Connor Xu" userId="a2fa5610-7f85-41f8-9630-afc02cec4fa9" providerId="ADAL" clId="{57EAAC4B-D155-4C96-A5D6-9BC102C82EFF}" dt="2024-09-04T04:41:39.443" v="10286" actId="165"/>
          <ac:spMkLst>
            <pc:docMk/>
            <pc:sldMk cId="1234428817" sldId="2147471653"/>
            <ac:spMk id="49" creationId="{A1FE5B3D-4D7C-473E-AEA5-AF3701D82446}"/>
          </ac:spMkLst>
        </pc:spChg>
        <pc:spChg chg="mod">
          <ac:chgData name="Connor Xu" userId="a2fa5610-7f85-41f8-9630-afc02cec4fa9" providerId="ADAL" clId="{57EAAC4B-D155-4C96-A5D6-9BC102C82EFF}" dt="2024-09-04T04:41:39.443" v="10286" actId="165"/>
          <ac:spMkLst>
            <pc:docMk/>
            <pc:sldMk cId="1234428817" sldId="2147471653"/>
            <ac:spMk id="50" creationId="{EDC88B1B-9694-E59D-69B7-029411F377DD}"/>
          </ac:spMkLst>
        </pc:spChg>
        <pc:spChg chg="add mod topLvl">
          <ac:chgData name="Connor Xu" userId="a2fa5610-7f85-41f8-9630-afc02cec4fa9" providerId="ADAL" clId="{57EAAC4B-D155-4C96-A5D6-9BC102C82EFF}" dt="2024-09-04T04:43:17.470" v="10314" actId="14100"/>
          <ac:spMkLst>
            <pc:docMk/>
            <pc:sldMk cId="1234428817" sldId="2147471653"/>
            <ac:spMk id="51" creationId="{6B497862-CDE8-D6F8-E21A-186CD80CFA12}"/>
          </ac:spMkLst>
        </pc:spChg>
        <pc:spChg chg="mod topLvl">
          <ac:chgData name="Connor Xu" userId="a2fa5610-7f85-41f8-9630-afc02cec4fa9" providerId="ADAL" clId="{57EAAC4B-D155-4C96-A5D6-9BC102C82EFF}" dt="2024-09-04T04:44:43.642" v="10332" actId="14100"/>
          <ac:spMkLst>
            <pc:docMk/>
            <pc:sldMk cId="1234428817" sldId="2147471653"/>
            <ac:spMk id="55" creationId="{0C4BD55A-287C-2705-2B79-52DED6828870}"/>
          </ac:spMkLst>
        </pc:spChg>
        <pc:spChg chg="del topLvl">
          <ac:chgData name="Connor Xu" userId="a2fa5610-7f85-41f8-9630-afc02cec4fa9" providerId="ADAL" clId="{57EAAC4B-D155-4C96-A5D6-9BC102C82EFF}" dt="2024-09-02T23:55:35.639" v="5675" actId="478"/>
          <ac:spMkLst>
            <pc:docMk/>
            <pc:sldMk cId="1234428817" sldId="2147471653"/>
            <ac:spMk id="56" creationId="{D95CE025-9D5A-B5AD-7CA4-D691C347BF8F}"/>
          </ac:spMkLst>
        </pc:spChg>
        <pc:spChg chg="del topLvl">
          <ac:chgData name="Connor Xu" userId="a2fa5610-7f85-41f8-9630-afc02cec4fa9" providerId="ADAL" clId="{57EAAC4B-D155-4C96-A5D6-9BC102C82EFF}" dt="2024-09-02T23:51:37.376" v="4981" actId="478"/>
          <ac:spMkLst>
            <pc:docMk/>
            <pc:sldMk cId="1234428817" sldId="2147471653"/>
            <ac:spMk id="57" creationId="{C7792A0A-503D-9A59-A5A2-83CD9C8A987B}"/>
          </ac:spMkLst>
        </pc:spChg>
        <pc:spChg chg="del topLvl">
          <ac:chgData name="Connor Xu" userId="a2fa5610-7f85-41f8-9630-afc02cec4fa9" providerId="ADAL" clId="{57EAAC4B-D155-4C96-A5D6-9BC102C82EFF}" dt="2024-09-02T23:51:36.008" v="4980" actId="478"/>
          <ac:spMkLst>
            <pc:docMk/>
            <pc:sldMk cId="1234428817" sldId="2147471653"/>
            <ac:spMk id="58" creationId="{203C4F35-0D45-E853-DBF9-558BD1F91F2B}"/>
          </ac:spMkLst>
        </pc:spChg>
        <pc:spChg chg="mod">
          <ac:chgData name="Connor Xu" userId="a2fa5610-7f85-41f8-9630-afc02cec4fa9" providerId="ADAL" clId="{57EAAC4B-D155-4C96-A5D6-9BC102C82EFF}" dt="2024-09-04T04:41:39.443" v="10286" actId="165"/>
          <ac:spMkLst>
            <pc:docMk/>
            <pc:sldMk cId="1234428817" sldId="2147471653"/>
            <ac:spMk id="61" creationId="{7580CCDB-E9FD-6870-3994-5B1C1A564FAA}"/>
          </ac:spMkLst>
        </pc:spChg>
        <pc:spChg chg="mod">
          <ac:chgData name="Connor Xu" userId="a2fa5610-7f85-41f8-9630-afc02cec4fa9" providerId="ADAL" clId="{57EAAC4B-D155-4C96-A5D6-9BC102C82EFF}" dt="2024-09-04T04:41:39.443" v="10286" actId="165"/>
          <ac:spMkLst>
            <pc:docMk/>
            <pc:sldMk cId="1234428817" sldId="2147471653"/>
            <ac:spMk id="62" creationId="{41F0850A-8AD6-1E57-08E1-945177257939}"/>
          </ac:spMkLst>
        </pc:spChg>
        <pc:spChg chg="mod">
          <ac:chgData name="Connor Xu" userId="a2fa5610-7f85-41f8-9630-afc02cec4fa9" providerId="ADAL" clId="{57EAAC4B-D155-4C96-A5D6-9BC102C82EFF}" dt="2024-09-04T04:41:39.443" v="10286" actId="165"/>
          <ac:spMkLst>
            <pc:docMk/>
            <pc:sldMk cId="1234428817" sldId="2147471653"/>
            <ac:spMk id="63" creationId="{3311DAC5-560E-AFA7-7966-9596657DCAE8}"/>
          </ac:spMkLst>
        </pc:spChg>
        <pc:spChg chg="mod">
          <ac:chgData name="Connor Xu" userId="a2fa5610-7f85-41f8-9630-afc02cec4fa9" providerId="ADAL" clId="{57EAAC4B-D155-4C96-A5D6-9BC102C82EFF}" dt="2024-09-04T04:41:39.443" v="10286" actId="165"/>
          <ac:spMkLst>
            <pc:docMk/>
            <pc:sldMk cId="1234428817" sldId="2147471653"/>
            <ac:spMk id="65" creationId="{E9FF1E7A-2E29-344E-E330-DFC2E241A02A}"/>
          </ac:spMkLst>
        </pc:spChg>
        <pc:spChg chg="mod">
          <ac:chgData name="Connor Xu" userId="a2fa5610-7f85-41f8-9630-afc02cec4fa9" providerId="ADAL" clId="{57EAAC4B-D155-4C96-A5D6-9BC102C82EFF}" dt="2024-09-02T23:54:50.827" v="5673" actId="1076"/>
          <ac:spMkLst>
            <pc:docMk/>
            <pc:sldMk cId="1234428817" sldId="2147471653"/>
            <ac:spMk id="66" creationId="{C8D9AD35-842C-4088-95FF-D8AAE16AA6B5}"/>
          </ac:spMkLst>
        </pc:spChg>
        <pc:spChg chg="mod">
          <ac:chgData name="Connor Xu" userId="a2fa5610-7f85-41f8-9630-afc02cec4fa9" providerId="ADAL" clId="{57EAAC4B-D155-4C96-A5D6-9BC102C82EFF}" dt="2024-09-02T23:53:17.679" v="5380" actId="113"/>
          <ac:spMkLst>
            <pc:docMk/>
            <pc:sldMk cId="1234428817" sldId="2147471653"/>
            <ac:spMk id="71" creationId="{233BE668-E501-7ED2-32B6-5AEC3A067C7F}"/>
          </ac:spMkLst>
        </pc:spChg>
        <pc:spChg chg="mod">
          <ac:chgData name="Connor Xu" userId="a2fa5610-7f85-41f8-9630-afc02cec4fa9" providerId="ADAL" clId="{57EAAC4B-D155-4C96-A5D6-9BC102C82EFF}" dt="2024-09-02T23:53:11.659" v="5351" actId="113"/>
          <ac:spMkLst>
            <pc:docMk/>
            <pc:sldMk cId="1234428817" sldId="2147471653"/>
            <ac:spMk id="75" creationId="{774E2C03-0D7A-E023-EEE1-390F0DB63E41}"/>
          </ac:spMkLst>
        </pc:spChg>
        <pc:grpChg chg="add mod">
          <ac:chgData name="Connor Xu" userId="a2fa5610-7f85-41f8-9630-afc02cec4fa9" providerId="ADAL" clId="{57EAAC4B-D155-4C96-A5D6-9BC102C82EFF}" dt="2024-09-02T23:55:42.201" v="5679" actId="571"/>
          <ac:grpSpMkLst>
            <pc:docMk/>
            <pc:sldMk cId="1234428817" sldId="2147471653"/>
            <ac:grpSpMk id="4" creationId="{F4646D60-09DC-CB71-FC1C-02FC5A3EDFEC}"/>
          </ac:grpSpMkLst>
        </pc:grpChg>
        <pc:grpChg chg="mod">
          <ac:chgData name="Connor Xu" userId="a2fa5610-7f85-41f8-9630-afc02cec4fa9" providerId="ADAL" clId="{57EAAC4B-D155-4C96-A5D6-9BC102C82EFF}" dt="2024-09-02T23:55:42.201" v="5679" actId="571"/>
          <ac:grpSpMkLst>
            <pc:docMk/>
            <pc:sldMk cId="1234428817" sldId="2147471653"/>
            <ac:grpSpMk id="5" creationId="{4DBA9D09-85B3-8BD3-A359-4BBD76A7D1B3}"/>
          </ac:grpSpMkLst>
        </pc:grpChg>
        <pc:grpChg chg="del">
          <ac:chgData name="Connor Xu" userId="a2fa5610-7f85-41f8-9630-afc02cec4fa9" providerId="ADAL" clId="{57EAAC4B-D155-4C96-A5D6-9BC102C82EFF}" dt="2024-09-02T23:51:37.376" v="4981" actId="478"/>
          <ac:grpSpMkLst>
            <pc:docMk/>
            <pc:sldMk cId="1234428817" sldId="2147471653"/>
            <ac:grpSpMk id="8" creationId="{6B0D435D-B251-E735-2494-EC31CBD02D36}"/>
          </ac:grpSpMkLst>
        </pc:grpChg>
        <pc:grpChg chg="del">
          <ac:chgData name="Connor Xu" userId="a2fa5610-7f85-41f8-9630-afc02cec4fa9" providerId="ADAL" clId="{57EAAC4B-D155-4C96-A5D6-9BC102C82EFF}" dt="2024-09-02T23:51:36.008" v="4980" actId="478"/>
          <ac:grpSpMkLst>
            <pc:docMk/>
            <pc:sldMk cId="1234428817" sldId="2147471653"/>
            <ac:grpSpMk id="9" creationId="{5172BC83-4690-D4E2-F598-12DE2C8EA758}"/>
          </ac:grpSpMkLst>
        </pc:grpChg>
        <pc:grpChg chg="del">
          <ac:chgData name="Connor Xu" userId="a2fa5610-7f85-41f8-9630-afc02cec4fa9" providerId="ADAL" clId="{57EAAC4B-D155-4C96-A5D6-9BC102C82EFF}" dt="2024-09-02T23:55:34.888" v="5674" actId="478"/>
          <ac:grpSpMkLst>
            <pc:docMk/>
            <pc:sldMk cId="1234428817" sldId="2147471653"/>
            <ac:grpSpMk id="10" creationId="{C2B8AE8C-CDC2-E188-290E-DE132C02BF26}"/>
          </ac:grpSpMkLst>
        </pc:grpChg>
        <pc:grpChg chg="del mod">
          <ac:chgData name="Connor Xu" userId="a2fa5610-7f85-41f8-9630-afc02cec4fa9" providerId="ADAL" clId="{57EAAC4B-D155-4C96-A5D6-9BC102C82EFF}" dt="2024-09-02T23:55:34.888" v="5674" actId="478"/>
          <ac:grpSpMkLst>
            <pc:docMk/>
            <pc:sldMk cId="1234428817" sldId="2147471653"/>
            <ac:grpSpMk id="11" creationId="{B3A4D5EE-B59B-883B-92A2-6D94F16C3418}"/>
          </ac:grpSpMkLst>
        </pc:grpChg>
        <pc:grpChg chg="del mod">
          <ac:chgData name="Connor Xu" userId="a2fa5610-7f85-41f8-9630-afc02cec4fa9" providerId="ADAL" clId="{57EAAC4B-D155-4C96-A5D6-9BC102C82EFF}" dt="2024-09-02T23:52:48.184" v="5283" actId="165"/>
          <ac:grpSpMkLst>
            <pc:docMk/>
            <pc:sldMk cId="1234428817" sldId="2147471653"/>
            <ac:grpSpMk id="13" creationId="{A39115E8-328C-A51A-D57F-66776B922273}"/>
          </ac:grpSpMkLst>
        </pc:grpChg>
        <pc:grpChg chg="mod">
          <ac:chgData name="Connor Xu" userId="a2fa5610-7f85-41f8-9630-afc02cec4fa9" providerId="ADAL" clId="{57EAAC4B-D155-4C96-A5D6-9BC102C82EFF}" dt="2024-09-02T23:55:42.201" v="5679" actId="571"/>
          <ac:grpSpMkLst>
            <pc:docMk/>
            <pc:sldMk cId="1234428817" sldId="2147471653"/>
            <ac:grpSpMk id="14" creationId="{02451661-B9EC-E59D-A7AB-A01195C265A2}"/>
          </ac:grpSpMkLst>
        </pc:grpChg>
        <pc:grpChg chg="add mod">
          <ac:chgData name="Connor Xu" userId="a2fa5610-7f85-41f8-9630-afc02cec4fa9" providerId="ADAL" clId="{57EAAC4B-D155-4C96-A5D6-9BC102C82EFF}" dt="2024-09-02T23:55:41.999" v="5678" actId="571"/>
          <ac:grpSpMkLst>
            <pc:docMk/>
            <pc:sldMk cId="1234428817" sldId="2147471653"/>
            <ac:grpSpMk id="22" creationId="{B881B431-DCFB-5E7A-D260-899A438433EA}"/>
          </ac:grpSpMkLst>
        </pc:grpChg>
        <pc:grpChg chg="mod">
          <ac:chgData name="Connor Xu" userId="a2fa5610-7f85-41f8-9630-afc02cec4fa9" providerId="ADAL" clId="{57EAAC4B-D155-4C96-A5D6-9BC102C82EFF}" dt="2024-09-02T23:55:41.999" v="5678" actId="571"/>
          <ac:grpSpMkLst>
            <pc:docMk/>
            <pc:sldMk cId="1234428817" sldId="2147471653"/>
            <ac:grpSpMk id="23" creationId="{1CDCB25A-68C0-A2C6-ACE6-C31942F0486C}"/>
          </ac:grpSpMkLst>
        </pc:grpChg>
        <pc:grpChg chg="mod">
          <ac:chgData name="Connor Xu" userId="a2fa5610-7f85-41f8-9630-afc02cec4fa9" providerId="ADAL" clId="{57EAAC4B-D155-4C96-A5D6-9BC102C82EFF}" dt="2024-09-02T23:55:41.999" v="5678" actId="571"/>
          <ac:grpSpMkLst>
            <pc:docMk/>
            <pc:sldMk cId="1234428817" sldId="2147471653"/>
            <ac:grpSpMk id="24" creationId="{2804B694-5E20-D78A-8079-3BC0C40151BD}"/>
          </ac:grpSpMkLst>
        </pc:grpChg>
        <pc:grpChg chg="add del mod">
          <ac:chgData name="Connor Xu" userId="a2fa5610-7f85-41f8-9630-afc02cec4fa9" providerId="ADAL" clId="{57EAAC4B-D155-4C96-A5D6-9BC102C82EFF}" dt="2024-09-02T23:58:14.250" v="5720" actId="165"/>
          <ac:grpSpMkLst>
            <pc:docMk/>
            <pc:sldMk cId="1234428817" sldId="2147471653"/>
            <ac:grpSpMk id="31" creationId="{38155EB7-612C-E7E6-A130-A32FC0F5B8BB}"/>
          </ac:grpSpMkLst>
        </pc:grpChg>
        <pc:grpChg chg="add mod topLvl">
          <ac:chgData name="Connor Xu" userId="a2fa5610-7f85-41f8-9630-afc02cec4fa9" providerId="ADAL" clId="{57EAAC4B-D155-4C96-A5D6-9BC102C82EFF}" dt="2024-09-04T04:41:49.442" v="10292" actId="14100"/>
          <ac:grpSpMkLst>
            <pc:docMk/>
            <pc:sldMk cId="1234428817" sldId="2147471653"/>
            <ac:grpSpMk id="33" creationId="{A564EB01-7545-DE33-172F-1AD0802E2BBD}"/>
          </ac:grpSpMkLst>
        </pc:grpChg>
        <pc:grpChg chg="mod">
          <ac:chgData name="Connor Xu" userId="a2fa5610-7f85-41f8-9630-afc02cec4fa9" providerId="ADAL" clId="{57EAAC4B-D155-4C96-A5D6-9BC102C82EFF}" dt="2024-09-04T04:41:39.443" v="10286" actId="165"/>
          <ac:grpSpMkLst>
            <pc:docMk/>
            <pc:sldMk cId="1234428817" sldId="2147471653"/>
            <ac:grpSpMk id="34" creationId="{A99B7067-1D95-13A0-A8A0-1366B314E57C}"/>
          </ac:grpSpMkLst>
        </pc:grpChg>
        <pc:grpChg chg="mod">
          <ac:chgData name="Connor Xu" userId="a2fa5610-7f85-41f8-9630-afc02cec4fa9" providerId="ADAL" clId="{57EAAC4B-D155-4C96-A5D6-9BC102C82EFF}" dt="2024-09-04T04:41:39.443" v="10286" actId="165"/>
          <ac:grpSpMkLst>
            <pc:docMk/>
            <pc:sldMk cId="1234428817" sldId="2147471653"/>
            <ac:grpSpMk id="35" creationId="{8BD0267D-81E0-A740-8E59-CC07E731228D}"/>
          </ac:grpSpMkLst>
        </pc:grpChg>
        <pc:grpChg chg="mod topLvl">
          <ac:chgData name="Connor Xu" userId="a2fa5610-7f85-41f8-9630-afc02cec4fa9" providerId="ADAL" clId="{57EAAC4B-D155-4C96-A5D6-9BC102C82EFF}" dt="2024-09-04T04:44:43.642" v="10332" actId="14100"/>
          <ac:grpSpMkLst>
            <pc:docMk/>
            <pc:sldMk cId="1234428817" sldId="2147471653"/>
            <ac:grpSpMk id="43" creationId="{EBF86891-D4B2-36C3-BDEC-AA9FE05AB2B0}"/>
          </ac:grpSpMkLst>
        </pc:grpChg>
        <pc:grpChg chg="add mod topLvl">
          <ac:chgData name="Connor Xu" userId="a2fa5610-7f85-41f8-9630-afc02cec4fa9" providerId="ADAL" clId="{57EAAC4B-D155-4C96-A5D6-9BC102C82EFF}" dt="2024-09-04T04:41:46.806" v="10290" actId="14100"/>
          <ac:grpSpMkLst>
            <pc:docMk/>
            <pc:sldMk cId="1234428817" sldId="2147471653"/>
            <ac:grpSpMk id="44" creationId="{CE9463A0-5FDD-605C-D71F-7AE72A7CD056}"/>
          </ac:grpSpMkLst>
        </pc:grpChg>
        <pc:grpChg chg="mod">
          <ac:chgData name="Connor Xu" userId="a2fa5610-7f85-41f8-9630-afc02cec4fa9" providerId="ADAL" clId="{57EAAC4B-D155-4C96-A5D6-9BC102C82EFF}" dt="2024-09-04T04:41:39.443" v="10286" actId="165"/>
          <ac:grpSpMkLst>
            <pc:docMk/>
            <pc:sldMk cId="1234428817" sldId="2147471653"/>
            <ac:grpSpMk id="45" creationId="{E1238B80-7A09-7550-C049-F409D7A12C9F}"/>
          </ac:grpSpMkLst>
        </pc:grpChg>
        <pc:grpChg chg="mod">
          <ac:chgData name="Connor Xu" userId="a2fa5610-7f85-41f8-9630-afc02cec4fa9" providerId="ADAL" clId="{57EAAC4B-D155-4C96-A5D6-9BC102C82EFF}" dt="2024-09-04T04:41:39.443" v="10286" actId="165"/>
          <ac:grpSpMkLst>
            <pc:docMk/>
            <pc:sldMk cId="1234428817" sldId="2147471653"/>
            <ac:grpSpMk id="46" creationId="{63480FE2-F8AA-AC52-2B67-EDFEB8EB9D15}"/>
          </ac:grpSpMkLst>
        </pc:grpChg>
        <pc:grpChg chg="add del mod">
          <ac:chgData name="Connor Xu" userId="a2fa5610-7f85-41f8-9630-afc02cec4fa9" providerId="ADAL" clId="{57EAAC4B-D155-4C96-A5D6-9BC102C82EFF}" dt="2024-09-04T04:41:39.443" v="10286" actId="165"/>
          <ac:grpSpMkLst>
            <pc:docMk/>
            <pc:sldMk cId="1234428817" sldId="2147471653"/>
            <ac:grpSpMk id="52" creationId="{A78D930B-854B-46D2-AF7A-1CE013046A39}"/>
          </ac:grpSpMkLst>
        </pc:grpChg>
        <pc:grpChg chg="add del mod">
          <ac:chgData name="Connor Xu" userId="a2fa5610-7f85-41f8-9630-afc02cec4fa9" providerId="ADAL" clId="{57EAAC4B-D155-4C96-A5D6-9BC102C82EFF}" dt="2024-09-04T04:41:39.443" v="10286" actId="165"/>
          <ac:grpSpMkLst>
            <pc:docMk/>
            <pc:sldMk cId="1234428817" sldId="2147471653"/>
            <ac:grpSpMk id="53" creationId="{FA849E53-3310-DDE3-68A0-B35B19F1CF1A}"/>
          </ac:grpSpMkLst>
        </pc:grpChg>
        <pc:grpChg chg="add del mod">
          <ac:chgData name="Connor Xu" userId="a2fa5610-7f85-41f8-9630-afc02cec4fa9" providerId="ADAL" clId="{57EAAC4B-D155-4C96-A5D6-9BC102C82EFF}" dt="2024-09-04T04:41:39.443" v="10286" actId="165"/>
          <ac:grpSpMkLst>
            <pc:docMk/>
            <pc:sldMk cId="1234428817" sldId="2147471653"/>
            <ac:grpSpMk id="54" creationId="{3EE9C3FD-6238-346D-F5D4-1A08682F1C57}"/>
          </ac:grpSpMkLst>
        </pc:grpChg>
        <pc:grpChg chg="mod">
          <ac:chgData name="Connor Xu" userId="a2fa5610-7f85-41f8-9630-afc02cec4fa9" providerId="ADAL" clId="{57EAAC4B-D155-4C96-A5D6-9BC102C82EFF}" dt="2024-09-04T04:41:39.443" v="10286" actId="165"/>
          <ac:grpSpMkLst>
            <pc:docMk/>
            <pc:sldMk cId="1234428817" sldId="2147471653"/>
            <ac:grpSpMk id="59" creationId="{51D3BB1E-0A55-9568-F292-87ECAE82A18A}"/>
          </ac:grpSpMkLst>
        </pc:grpChg>
        <pc:grpChg chg="mod">
          <ac:chgData name="Connor Xu" userId="a2fa5610-7f85-41f8-9630-afc02cec4fa9" providerId="ADAL" clId="{57EAAC4B-D155-4C96-A5D6-9BC102C82EFF}" dt="2024-09-04T04:41:39.443" v="10286" actId="165"/>
          <ac:grpSpMkLst>
            <pc:docMk/>
            <pc:sldMk cId="1234428817" sldId="2147471653"/>
            <ac:grpSpMk id="60" creationId="{A1E8E87A-B0BA-CC79-3011-1AED704283AF}"/>
          </ac:grpSpMkLst>
        </pc:grpChg>
      </pc:sldChg>
      <pc:sldChg chg="addSp delSp modSp mod">
        <pc:chgData name="Connor Xu" userId="a2fa5610-7f85-41f8-9630-afc02cec4fa9" providerId="ADAL" clId="{57EAAC4B-D155-4C96-A5D6-9BC102C82EFF}" dt="2024-09-17T04:59:03.830" v="10348" actId="20577"/>
        <pc:sldMkLst>
          <pc:docMk/>
          <pc:sldMk cId="3274022134" sldId="2147471656"/>
        </pc:sldMkLst>
        <pc:spChg chg="mod">
          <ac:chgData name="Connor Xu" userId="a2fa5610-7f85-41f8-9630-afc02cec4fa9" providerId="ADAL" clId="{57EAAC4B-D155-4C96-A5D6-9BC102C82EFF}" dt="2024-09-02T22:49:04.408" v="3441" actId="20577"/>
          <ac:spMkLst>
            <pc:docMk/>
            <pc:sldMk cId="3274022134" sldId="2147471656"/>
            <ac:spMk id="3" creationId="{70A675F7-CAF4-83EC-53BD-56B259073B05}"/>
          </ac:spMkLst>
        </pc:spChg>
        <pc:spChg chg="mod">
          <ac:chgData name="Connor Xu" userId="a2fa5610-7f85-41f8-9630-afc02cec4fa9" providerId="ADAL" clId="{57EAAC4B-D155-4C96-A5D6-9BC102C82EFF}" dt="2024-09-04T04:37:34.619" v="10209" actId="1035"/>
          <ac:spMkLst>
            <pc:docMk/>
            <pc:sldMk cId="3274022134" sldId="2147471656"/>
            <ac:spMk id="6" creationId="{E1296918-AD6D-C9E2-9E46-991182C85F7C}"/>
          </ac:spMkLst>
        </pc:spChg>
        <pc:spChg chg="mod topLvl">
          <ac:chgData name="Connor Xu" userId="a2fa5610-7f85-41f8-9630-afc02cec4fa9" providerId="ADAL" clId="{57EAAC4B-D155-4C96-A5D6-9BC102C82EFF}" dt="2024-09-02T22:42:19.153" v="3303" actId="165"/>
          <ac:spMkLst>
            <pc:docMk/>
            <pc:sldMk cId="3274022134" sldId="2147471656"/>
            <ac:spMk id="11" creationId="{3A4F6423-A6D9-DE9E-124A-D0D2D557C843}"/>
          </ac:spMkLst>
        </pc:spChg>
        <pc:spChg chg="mod topLvl">
          <ac:chgData name="Connor Xu" userId="a2fa5610-7f85-41f8-9630-afc02cec4fa9" providerId="ADAL" clId="{57EAAC4B-D155-4C96-A5D6-9BC102C82EFF}" dt="2024-09-02T22:42:19.153" v="3303" actId="165"/>
          <ac:spMkLst>
            <pc:docMk/>
            <pc:sldMk cId="3274022134" sldId="2147471656"/>
            <ac:spMk id="12" creationId="{FB5D171E-152C-37C5-B9B6-F9095392E681}"/>
          </ac:spMkLst>
        </pc:spChg>
        <pc:spChg chg="mod topLvl">
          <ac:chgData name="Connor Xu" userId="a2fa5610-7f85-41f8-9630-afc02cec4fa9" providerId="ADAL" clId="{57EAAC4B-D155-4C96-A5D6-9BC102C82EFF}" dt="2024-09-02T22:42:19.153" v="3303" actId="165"/>
          <ac:spMkLst>
            <pc:docMk/>
            <pc:sldMk cId="3274022134" sldId="2147471656"/>
            <ac:spMk id="13" creationId="{20EC2ED1-1B6D-35EF-B9CE-C2846F6BAC49}"/>
          </ac:spMkLst>
        </pc:spChg>
        <pc:spChg chg="mod">
          <ac:chgData name="Connor Xu" userId="a2fa5610-7f85-41f8-9630-afc02cec4fa9" providerId="ADAL" clId="{57EAAC4B-D155-4C96-A5D6-9BC102C82EFF}" dt="2024-09-02T23:28:13.692" v="4448" actId="255"/>
          <ac:spMkLst>
            <pc:docMk/>
            <pc:sldMk cId="3274022134" sldId="2147471656"/>
            <ac:spMk id="18" creationId="{410EF50E-2E3A-8BFF-510C-BFA7A9F187D6}"/>
          </ac:spMkLst>
        </pc:spChg>
        <pc:spChg chg="mod">
          <ac:chgData name="Connor Xu" userId="a2fa5610-7f85-41f8-9630-afc02cec4fa9" providerId="ADAL" clId="{57EAAC4B-D155-4C96-A5D6-9BC102C82EFF}" dt="2024-09-02T23:28:13.692" v="4448" actId="255"/>
          <ac:spMkLst>
            <pc:docMk/>
            <pc:sldMk cId="3274022134" sldId="2147471656"/>
            <ac:spMk id="19" creationId="{88333EDC-5553-013F-2E95-63592AEF1CF4}"/>
          </ac:spMkLst>
        </pc:spChg>
        <pc:spChg chg="mod">
          <ac:chgData name="Connor Xu" userId="a2fa5610-7f85-41f8-9630-afc02cec4fa9" providerId="ADAL" clId="{57EAAC4B-D155-4C96-A5D6-9BC102C82EFF}" dt="2024-09-02T23:28:13.692" v="4448" actId="255"/>
          <ac:spMkLst>
            <pc:docMk/>
            <pc:sldMk cId="3274022134" sldId="2147471656"/>
            <ac:spMk id="20" creationId="{F82B8B99-F204-FDA1-A079-EAB78A8363D6}"/>
          </ac:spMkLst>
        </pc:spChg>
        <pc:spChg chg="mod">
          <ac:chgData name="Connor Xu" userId="a2fa5610-7f85-41f8-9630-afc02cec4fa9" providerId="ADAL" clId="{57EAAC4B-D155-4C96-A5D6-9BC102C82EFF}" dt="2024-09-02T23:28:13.692" v="4448" actId="255"/>
          <ac:spMkLst>
            <pc:docMk/>
            <pc:sldMk cId="3274022134" sldId="2147471656"/>
            <ac:spMk id="21" creationId="{B04FFF6B-4AEE-1D93-78AA-B67304840040}"/>
          </ac:spMkLst>
        </pc:spChg>
        <pc:spChg chg="mod">
          <ac:chgData name="Connor Xu" userId="a2fa5610-7f85-41f8-9630-afc02cec4fa9" providerId="ADAL" clId="{57EAAC4B-D155-4C96-A5D6-9BC102C82EFF}" dt="2024-09-02T23:28:13.692" v="4448" actId="255"/>
          <ac:spMkLst>
            <pc:docMk/>
            <pc:sldMk cId="3274022134" sldId="2147471656"/>
            <ac:spMk id="26" creationId="{1AEE9A7E-9EB5-39D2-323C-4712EC9B4D71}"/>
          </ac:spMkLst>
        </pc:spChg>
        <pc:spChg chg="del">
          <ac:chgData name="Connor Xu" userId="a2fa5610-7f85-41f8-9630-afc02cec4fa9" providerId="ADAL" clId="{57EAAC4B-D155-4C96-A5D6-9BC102C82EFF}" dt="2024-09-02T08:20:15.118" v="3293" actId="478"/>
          <ac:spMkLst>
            <pc:docMk/>
            <pc:sldMk cId="3274022134" sldId="2147471656"/>
            <ac:spMk id="27" creationId="{F6F1DC71-5700-BE1F-240E-8AD3A4B17FDB}"/>
          </ac:spMkLst>
        </pc:spChg>
        <pc:spChg chg="del">
          <ac:chgData name="Connor Xu" userId="a2fa5610-7f85-41f8-9630-afc02cec4fa9" providerId="ADAL" clId="{57EAAC4B-D155-4C96-A5D6-9BC102C82EFF}" dt="2024-09-02T08:20:15.118" v="3293" actId="478"/>
          <ac:spMkLst>
            <pc:docMk/>
            <pc:sldMk cId="3274022134" sldId="2147471656"/>
            <ac:spMk id="28" creationId="{DA1058AE-7E31-293C-98DF-7476322998F0}"/>
          </ac:spMkLst>
        </pc:spChg>
        <pc:spChg chg="mod">
          <ac:chgData name="Connor Xu" userId="a2fa5610-7f85-41f8-9630-afc02cec4fa9" providerId="ADAL" clId="{57EAAC4B-D155-4C96-A5D6-9BC102C82EFF}" dt="2024-09-02T23:28:13.692" v="4448" actId="255"/>
          <ac:spMkLst>
            <pc:docMk/>
            <pc:sldMk cId="3274022134" sldId="2147471656"/>
            <ac:spMk id="30" creationId="{AD6FA50E-49CB-A613-EF3F-2FB3672045F0}"/>
          </ac:spMkLst>
        </pc:spChg>
        <pc:spChg chg="mod">
          <ac:chgData name="Connor Xu" userId="a2fa5610-7f85-41f8-9630-afc02cec4fa9" providerId="ADAL" clId="{57EAAC4B-D155-4C96-A5D6-9BC102C82EFF}" dt="2024-09-02T23:28:13.692" v="4448" actId="255"/>
          <ac:spMkLst>
            <pc:docMk/>
            <pc:sldMk cId="3274022134" sldId="2147471656"/>
            <ac:spMk id="31" creationId="{F924F360-5DD4-8D4A-B3A1-BA597B0633F1}"/>
          </ac:spMkLst>
        </pc:spChg>
        <pc:spChg chg="mod">
          <ac:chgData name="Connor Xu" userId="a2fa5610-7f85-41f8-9630-afc02cec4fa9" providerId="ADAL" clId="{57EAAC4B-D155-4C96-A5D6-9BC102C82EFF}" dt="2024-09-02T23:28:13.692" v="4448" actId="255"/>
          <ac:spMkLst>
            <pc:docMk/>
            <pc:sldMk cId="3274022134" sldId="2147471656"/>
            <ac:spMk id="32" creationId="{E00511EB-8B55-F389-84FA-D87EAF9765C7}"/>
          </ac:spMkLst>
        </pc:spChg>
        <pc:spChg chg="add mod">
          <ac:chgData name="Connor Xu" userId="a2fa5610-7f85-41f8-9630-afc02cec4fa9" providerId="ADAL" clId="{57EAAC4B-D155-4C96-A5D6-9BC102C82EFF}" dt="2024-09-04T04:38:26.371" v="10240" actId="404"/>
          <ac:spMkLst>
            <pc:docMk/>
            <pc:sldMk cId="3274022134" sldId="2147471656"/>
            <ac:spMk id="34" creationId="{E7A62575-D141-CCE1-DD8B-234B0180E6AB}"/>
          </ac:spMkLst>
        </pc:spChg>
        <pc:spChg chg="add mod">
          <ac:chgData name="Connor Xu" userId="a2fa5610-7f85-41f8-9630-afc02cec4fa9" providerId="ADAL" clId="{57EAAC4B-D155-4C96-A5D6-9BC102C82EFF}" dt="2024-09-04T04:38:26.371" v="10240" actId="404"/>
          <ac:spMkLst>
            <pc:docMk/>
            <pc:sldMk cId="3274022134" sldId="2147471656"/>
            <ac:spMk id="35" creationId="{B59FEA33-8FAA-0F8E-C4EB-CE0A4CDA3E3D}"/>
          </ac:spMkLst>
        </pc:spChg>
        <pc:spChg chg="add mod">
          <ac:chgData name="Connor Xu" userId="a2fa5610-7f85-41f8-9630-afc02cec4fa9" providerId="ADAL" clId="{57EAAC4B-D155-4C96-A5D6-9BC102C82EFF}" dt="2024-09-17T04:59:03.830" v="10348" actId="20577"/>
          <ac:spMkLst>
            <pc:docMk/>
            <pc:sldMk cId="3274022134" sldId="2147471656"/>
            <ac:spMk id="36" creationId="{7DE378FA-7E4C-12D4-713A-2EB2BDB2B977}"/>
          </ac:spMkLst>
        </pc:spChg>
        <pc:spChg chg="add mod">
          <ac:chgData name="Connor Xu" userId="a2fa5610-7f85-41f8-9630-afc02cec4fa9" providerId="ADAL" clId="{57EAAC4B-D155-4C96-A5D6-9BC102C82EFF}" dt="2024-09-04T04:38:31.902" v="10241" actId="14100"/>
          <ac:spMkLst>
            <pc:docMk/>
            <pc:sldMk cId="3274022134" sldId="2147471656"/>
            <ac:spMk id="39" creationId="{E378804B-F9D7-3C3C-7D7A-02C9821E5848}"/>
          </ac:spMkLst>
        </pc:spChg>
        <pc:spChg chg="del">
          <ac:chgData name="Connor Xu" userId="a2fa5610-7f85-41f8-9630-afc02cec4fa9" providerId="ADAL" clId="{57EAAC4B-D155-4C96-A5D6-9BC102C82EFF}" dt="2024-09-02T08:20:15.118" v="3293" actId="478"/>
          <ac:spMkLst>
            <pc:docMk/>
            <pc:sldMk cId="3274022134" sldId="2147471656"/>
            <ac:spMk id="61" creationId="{1FF6B810-6AD5-BB03-6DD4-EDA274DB54C0}"/>
          </ac:spMkLst>
        </pc:spChg>
        <pc:grpChg chg="del">
          <ac:chgData name="Connor Xu" userId="a2fa5610-7f85-41f8-9630-afc02cec4fa9" providerId="ADAL" clId="{57EAAC4B-D155-4C96-A5D6-9BC102C82EFF}" dt="2024-09-02T08:20:12.924" v="3292" actId="478"/>
          <ac:grpSpMkLst>
            <pc:docMk/>
            <pc:sldMk cId="3274022134" sldId="2147471656"/>
            <ac:grpSpMk id="2" creationId="{1AAF0710-D2E7-C6C8-1445-17E572AA04F6}"/>
          </ac:grpSpMkLst>
        </pc:grpChg>
        <pc:grpChg chg="add del mod">
          <ac:chgData name="Connor Xu" userId="a2fa5610-7f85-41f8-9630-afc02cec4fa9" providerId="ADAL" clId="{57EAAC4B-D155-4C96-A5D6-9BC102C82EFF}" dt="2024-09-02T22:42:19.153" v="3303" actId="165"/>
          <ac:grpSpMkLst>
            <pc:docMk/>
            <pc:sldMk cId="3274022134" sldId="2147471656"/>
            <ac:grpSpMk id="10" creationId="{A852E2B7-BE6E-64E1-01CC-BF472ED3468A}"/>
          </ac:grpSpMkLst>
        </pc:grpChg>
        <pc:grpChg chg="mod topLvl">
          <ac:chgData name="Connor Xu" userId="a2fa5610-7f85-41f8-9630-afc02cec4fa9" providerId="ADAL" clId="{57EAAC4B-D155-4C96-A5D6-9BC102C82EFF}" dt="2024-09-02T22:42:19.153" v="3303" actId="165"/>
          <ac:grpSpMkLst>
            <pc:docMk/>
            <pc:sldMk cId="3274022134" sldId="2147471656"/>
            <ac:grpSpMk id="14" creationId="{69C74A6C-21F8-6C52-6765-3DB37CCE7775}"/>
          </ac:grpSpMkLst>
        </pc:grpChg>
        <pc:grpChg chg="mod topLvl">
          <ac:chgData name="Connor Xu" userId="a2fa5610-7f85-41f8-9630-afc02cec4fa9" providerId="ADAL" clId="{57EAAC4B-D155-4C96-A5D6-9BC102C82EFF}" dt="2024-09-02T22:42:19.153" v="3303" actId="165"/>
          <ac:grpSpMkLst>
            <pc:docMk/>
            <pc:sldMk cId="3274022134" sldId="2147471656"/>
            <ac:grpSpMk id="15" creationId="{5105D69D-F438-E647-8B10-9BDB079AFD82}"/>
          </ac:grpSpMkLst>
        </pc:grpChg>
        <pc:grpChg chg="mod topLvl">
          <ac:chgData name="Connor Xu" userId="a2fa5610-7f85-41f8-9630-afc02cec4fa9" providerId="ADAL" clId="{57EAAC4B-D155-4C96-A5D6-9BC102C82EFF}" dt="2024-09-02T22:42:19.153" v="3303" actId="165"/>
          <ac:grpSpMkLst>
            <pc:docMk/>
            <pc:sldMk cId="3274022134" sldId="2147471656"/>
            <ac:grpSpMk id="16" creationId="{F3D83027-20FF-98A0-EE9B-469BD80AA127}"/>
          </ac:grpSpMkLst>
        </pc:grpChg>
        <pc:grpChg chg="mod topLvl">
          <ac:chgData name="Connor Xu" userId="a2fa5610-7f85-41f8-9630-afc02cec4fa9" providerId="ADAL" clId="{57EAAC4B-D155-4C96-A5D6-9BC102C82EFF}" dt="2024-09-02T22:42:19.153" v="3303" actId="165"/>
          <ac:grpSpMkLst>
            <pc:docMk/>
            <pc:sldMk cId="3274022134" sldId="2147471656"/>
            <ac:grpSpMk id="17" creationId="{997E32DB-B5A5-19CB-827A-67989BC83D84}"/>
          </ac:grpSpMkLst>
        </pc:grpChg>
        <pc:grpChg chg="del">
          <ac:chgData name="Connor Xu" userId="a2fa5610-7f85-41f8-9630-afc02cec4fa9" providerId="ADAL" clId="{57EAAC4B-D155-4C96-A5D6-9BC102C82EFF}" dt="2024-09-02T08:20:10.748" v="3291" actId="478"/>
          <ac:grpSpMkLst>
            <pc:docMk/>
            <pc:sldMk cId="3274022134" sldId="2147471656"/>
            <ac:grpSpMk id="60" creationId="{2982EC5E-6597-1D97-3258-37B26C357946}"/>
          </ac:grpSpMkLst>
        </pc:grpChg>
        <pc:picChg chg="del">
          <ac:chgData name="Connor Xu" userId="a2fa5610-7f85-41f8-9630-afc02cec4fa9" providerId="ADAL" clId="{57EAAC4B-D155-4C96-A5D6-9BC102C82EFF}" dt="2024-09-02T08:20:15.118" v="3293" actId="478"/>
          <ac:picMkLst>
            <pc:docMk/>
            <pc:sldMk cId="3274022134" sldId="2147471656"/>
            <ac:picMk id="62" creationId="{E268F032-2290-93A3-D084-780185791B13}"/>
          </ac:picMkLst>
        </pc:picChg>
        <pc:cxnChg chg="add mod">
          <ac:chgData name="Connor Xu" userId="a2fa5610-7f85-41f8-9630-afc02cec4fa9" providerId="ADAL" clId="{57EAAC4B-D155-4C96-A5D6-9BC102C82EFF}" dt="2024-09-02T22:42:53.411" v="3307" actId="208"/>
          <ac:cxnSpMkLst>
            <pc:docMk/>
            <pc:sldMk cId="3274022134" sldId="2147471656"/>
            <ac:cxnSpMk id="40" creationId="{DDC915AB-104B-1D76-EB7C-EF1CFB218D8B}"/>
          </ac:cxnSpMkLst>
        </pc:cxnChg>
        <pc:cxnChg chg="add mod">
          <ac:chgData name="Connor Xu" userId="a2fa5610-7f85-41f8-9630-afc02cec4fa9" providerId="ADAL" clId="{57EAAC4B-D155-4C96-A5D6-9BC102C82EFF}" dt="2024-09-02T22:43:14.046" v="3311" actId="208"/>
          <ac:cxnSpMkLst>
            <pc:docMk/>
            <pc:sldMk cId="3274022134" sldId="2147471656"/>
            <ac:cxnSpMk id="41" creationId="{5AC26D9B-05A7-8431-4B94-663063A36E68}"/>
          </ac:cxnSpMkLst>
        </pc:cxnChg>
        <pc:cxnChg chg="add mod">
          <ac:chgData name="Connor Xu" userId="a2fa5610-7f85-41f8-9630-afc02cec4fa9" providerId="ADAL" clId="{57EAAC4B-D155-4C96-A5D6-9BC102C82EFF}" dt="2024-09-02T22:43:50.902" v="3319" actId="208"/>
          <ac:cxnSpMkLst>
            <pc:docMk/>
            <pc:sldMk cId="3274022134" sldId="2147471656"/>
            <ac:cxnSpMk id="42" creationId="{B675F959-1E8F-CF08-F6D6-98E6DD7AF997}"/>
          </ac:cxnSpMkLst>
        </pc:cxnChg>
        <pc:cxnChg chg="add mod">
          <ac:chgData name="Connor Xu" userId="a2fa5610-7f85-41f8-9630-afc02cec4fa9" providerId="ADAL" clId="{57EAAC4B-D155-4C96-A5D6-9BC102C82EFF}" dt="2024-09-02T22:43:35.997" v="3315" actId="208"/>
          <ac:cxnSpMkLst>
            <pc:docMk/>
            <pc:sldMk cId="3274022134" sldId="2147471656"/>
            <ac:cxnSpMk id="49" creationId="{54CBD9CA-92F7-674F-0009-6DF6B1A4379A}"/>
          </ac:cxnSpMkLst>
        </pc:cxnChg>
      </pc:sldChg>
      <pc:sldChg chg="addSp delSp modSp add mod">
        <pc:chgData name="Connor Xu" userId="a2fa5610-7f85-41f8-9630-afc02cec4fa9" providerId="ADAL" clId="{57EAAC4B-D155-4C96-A5D6-9BC102C82EFF}" dt="2024-09-03T00:10:22.959" v="7408" actId="1036"/>
        <pc:sldMkLst>
          <pc:docMk/>
          <pc:sldMk cId="317380609" sldId="2147471681"/>
        </pc:sldMkLst>
        <pc:spChg chg="add del mod">
          <ac:chgData name="Connor Xu" userId="a2fa5610-7f85-41f8-9630-afc02cec4fa9" providerId="ADAL" clId="{57EAAC4B-D155-4C96-A5D6-9BC102C82EFF}" dt="2024-09-02T23:30:27.210" v="4489" actId="478"/>
          <ac:spMkLst>
            <pc:docMk/>
            <pc:sldMk cId="317380609" sldId="2147471681"/>
            <ac:spMk id="2" creationId="{F8C09BAF-09CF-485D-CF76-4DC361685118}"/>
          </ac:spMkLst>
        </pc:spChg>
        <pc:spChg chg="mod">
          <ac:chgData name="Connor Xu" userId="a2fa5610-7f85-41f8-9630-afc02cec4fa9" providerId="ADAL" clId="{57EAAC4B-D155-4C96-A5D6-9BC102C82EFF}" dt="2024-09-02T23:21:55.692" v="4188"/>
          <ac:spMkLst>
            <pc:docMk/>
            <pc:sldMk cId="317380609" sldId="2147471681"/>
            <ac:spMk id="3" creationId="{BB853E69-A90C-3E89-6E59-4F50810429A8}"/>
          </ac:spMkLst>
        </pc:spChg>
        <pc:spChg chg="mod">
          <ac:chgData name="Connor Xu" userId="a2fa5610-7f85-41f8-9630-afc02cec4fa9" providerId="ADAL" clId="{57EAAC4B-D155-4C96-A5D6-9BC102C82EFF}" dt="2024-09-03T00:10:22.959" v="7408" actId="1036"/>
          <ac:spMkLst>
            <pc:docMk/>
            <pc:sldMk cId="317380609" sldId="2147471681"/>
            <ac:spMk id="4" creationId="{D84E1ABD-09C0-34B4-2515-48183DD677F2}"/>
          </ac:spMkLst>
        </pc:spChg>
        <pc:spChg chg="mod">
          <ac:chgData name="Connor Xu" userId="a2fa5610-7f85-41f8-9630-afc02cec4fa9" providerId="ADAL" clId="{57EAAC4B-D155-4C96-A5D6-9BC102C82EFF}" dt="2024-09-03T00:10:22.959" v="7408" actId="1036"/>
          <ac:spMkLst>
            <pc:docMk/>
            <pc:sldMk cId="317380609" sldId="2147471681"/>
            <ac:spMk id="6" creationId="{9D8787CA-B4CC-2C3E-E783-018DAE389F8A}"/>
          </ac:spMkLst>
        </pc:spChg>
        <pc:spChg chg="mod">
          <ac:chgData name="Connor Xu" userId="a2fa5610-7f85-41f8-9630-afc02cec4fa9" providerId="ADAL" clId="{57EAAC4B-D155-4C96-A5D6-9BC102C82EFF}" dt="2024-09-03T00:10:22.959" v="7408" actId="1036"/>
          <ac:spMkLst>
            <pc:docMk/>
            <pc:sldMk cId="317380609" sldId="2147471681"/>
            <ac:spMk id="7" creationId="{E41C40E5-BFD6-0898-3ACA-3BB32AE9D26F}"/>
          </ac:spMkLst>
        </pc:spChg>
        <pc:spChg chg="del">
          <ac:chgData name="Connor Xu" userId="a2fa5610-7f85-41f8-9630-afc02cec4fa9" providerId="ADAL" clId="{57EAAC4B-D155-4C96-A5D6-9BC102C82EFF}" dt="2024-09-02T23:29:36.703" v="4472" actId="478"/>
          <ac:spMkLst>
            <pc:docMk/>
            <pc:sldMk cId="317380609" sldId="2147471681"/>
            <ac:spMk id="8" creationId="{8FE98830-AABD-E335-61CA-8D928AC9E2DE}"/>
          </ac:spMkLst>
        </pc:spChg>
        <pc:spChg chg="mod">
          <ac:chgData name="Connor Xu" userId="a2fa5610-7f85-41f8-9630-afc02cec4fa9" providerId="ADAL" clId="{57EAAC4B-D155-4C96-A5D6-9BC102C82EFF}" dt="2024-09-03T00:10:22.959" v="7408" actId="1036"/>
          <ac:spMkLst>
            <pc:docMk/>
            <pc:sldMk cId="317380609" sldId="2147471681"/>
            <ac:spMk id="9" creationId="{033267D3-05BA-6C1E-16E4-B4C6021F2EEF}"/>
          </ac:spMkLst>
        </pc:spChg>
        <pc:spChg chg="del">
          <ac:chgData name="Connor Xu" userId="a2fa5610-7f85-41f8-9630-afc02cec4fa9" providerId="ADAL" clId="{57EAAC4B-D155-4C96-A5D6-9BC102C82EFF}" dt="2024-09-02T23:29:36.703" v="4472" actId="478"/>
          <ac:spMkLst>
            <pc:docMk/>
            <pc:sldMk cId="317380609" sldId="2147471681"/>
            <ac:spMk id="10" creationId="{51EB5A4F-03B8-9362-64C5-B1E038C44593}"/>
          </ac:spMkLst>
        </pc:spChg>
        <pc:spChg chg="del mod">
          <ac:chgData name="Connor Xu" userId="a2fa5610-7f85-41f8-9630-afc02cec4fa9" providerId="ADAL" clId="{57EAAC4B-D155-4C96-A5D6-9BC102C82EFF}" dt="2024-09-02T23:29:31.416" v="4470" actId="478"/>
          <ac:spMkLst>
            <pc:docMk/>
            <pc:sldMk cId="317380609" sldId="2147471681"/>
            <ac:spMk id="11" creationId="{E6258602-98AE-F744-469B-9015C500840C}"/>
          </ac:spMkLst>
        </pc:spChg>
        <pc:spChg chg="del">
          <ac:chgData name="Connor Xu" userId="a2fa5610-7f85-41f8-9630-afc02cec4fa9" providerId="ADAL" clId="{57EAAC4B-D155-4C96-A5D6-9BC102C82EFF}" dt="2024-09-02T23:29:36.703" v="4472" actId="478"/>
          <ac:spMkLst>
            <pc:docMk/>
            <pc:sldMk cId="317380609" sldId="2147471681"/>
            <ac:spMk id="12" creationId="{D00BC2AD-2958-4D7B-5765-1372A99B7580}"/>
          </ac:spMkLst>
        </pc:spChg>
        <pc:spChg chg="del mod">
          <ac:chgData name="Connor Xu" userId="a2fa5610-7f85-41f8-9630-afc02cec4fa9" providerId="ADAL" clId="{57EAAC4B-D155-4C96-A5D6-9BC102C82EFF}" dt="2024-09-02T23:29:33.942" v="4471" actId="478"/>
          <ac:spMkLst>
            <pc:docMk/>
            <pc:sldMk cId="317380609" sldId="2147471681"/>
            <ac:spMk id="13" creationId="{4A953B82-F822-ED48-35B4-553455910FF9}"/>
          </ac:spMkLst>
        </pc:spChg>
        <pc:spChg chg="del">
          <ac:chgData name="Connor Xu" userId="a2fa5610-7f85-41f8-9630-afc02cec4fa9" providerId="ADAL" clId="{57EAAC4B-D155-4C96-A5D6-9BC102C82EFF}" dt="2024-09-02T23:29:33.942" v="4471" actId="478"/>
          <ac:spMkLst>
            <pc:docMk/>
            <pc:sldMk cId="317380609" sldId="2147471681"/>
            <ac:spMk id="14" creationId="{23F57812-E15A-D7BF-0F98-FAF086723A8D}"/>
          </ac:spMkLst>
        </pc:spChg>
        <pc:spChg chg="del">
          <ac:chgData name="Connor Xu" userId="a2fa5610-7f85-41f8-9630-afc02cec4fa9" providerId="ADAL" clId="{57EAAC4B-D155-4C96-A5D6-9BC102C82EFF}" dt="2024-09-02T23:29:33.942" v="4471" actId="478"/>
          <ac:spMkLst>
            <pc:docMk/>
            <pc:sldMk cId="317380609" sldId="2147471681"/>
            <ac:spMk id="15" creationId="{E229650F-0198-37B5-AC36-45466018C49D}"/>
          </ac:spMkLst>
        </pc:spChg>
        <pc:spChg chg="del">
          <ac:chgData name="Connor Xu" userId="a2fa5610-7f85-41f8-9630-afc02cec4fa9" providerId="ADAL" clId="{57EAAC4B-D155-4C96-A5D6-9BC102C82EFF}" dt="2024-09-02T23:29:33.942" v="4471" actId="478"/>
          <ac:spMkLst>
            <pc:docMk/>
            <pc:sldMk cId="317380609" sldId="2147471681"/>
            <ac:spMk id="16" creationId="{71CB6EB4-8B85-55B7-C3C8-8726693E678A}"/>
          </ac:spMkLst>
        </pc:spChg>
        <pc:spChg chg="add mod">
          <ac:chgData name="Connor Xu" userId="a2fa5610-7f85-41f8-9630-afc02cec4fa9" providerId="ADAL" clId="{57EAAC4B-D155-4C96-A5D6-9BC102C82EFF}" dt="2024-09-03T00:10:22.959" v="7408" actId="1036"/>
          <ac:spMkLst>
            <pc:docMk/>
            <pc:sldMk cId="317380609" sldId="2147471681"/>
            <ac:spMk id="17" creationId="{8A5FBC12-F38A-648C-4F3F-2F6D63A20EDD}"/>
          </ac:spMkLst>
        </pc:spChg>
        <pc:spChg chg="add mod">
          <ac:chgData name="Connor Xu" userId="a2fa5610-7f85-41f8-9630-afc02cec4fa9" providerId="ADAL" clId="{57EAAC4B-D155-4C96-A5D6-9BC102C82EFF}" dt="2024-09-03T00:10:22.959" v="7408" actId="1036"/>
          <ac:spMkLst>
            <pc:docMk/>
            <pc:sldMk cId="317380609" sldId="2147471681"/>
            <ac:spMk id="18" creationId="{B5D3C081-C436-6276-67C2-C35D6650B47C}"/>
          </ac:spMkLst>
        </pc:spChg>
        <pc:spChg chg="add mod">
          <ac:chgData name="Connor Xu" userId="a2fa5610-7f85-41f8-9630-afc02cec4fa9" providerId="ADAL" clId="{57EAAC4B-D155-4C96-A5D6-9BC102C82EFF}" dt="2024-09-03T00:10:22.959" v="7408" actId="1036"/>
          <ac:spMkLst>
            <pc:docMk/>
            <pc:sldMk cId="317380609" sldId="2147471681"/>
            <ac:spMk id="19" creationId="{97AD3516-DDE9-3112-FEB0-F38BE2D47078}"/>
          </ac:spMkLst>
        </pc:spChg>
        <pc:spChg chg="add mod">
          <ac:chgData name="Connor Xu" userId="a2fa5610-7f85-41f8-9630-afc02cec4fa9" providerId="ADAL" clId="{57EAAC4B-D155-4C96-A5D6-9BC102C82EFF}" dt="2024-09-03T00:10:22.959" v="7408" actId="1036"/>
          <ac:spMkLst>
            <pc:docMk/>
            <pc:sldMk cId="317380609" sldId="2147471681"/>
            <ac:spMk id="20" creationId="{2E008FE4-468A-5FBC-3D8A-4B9928CA518E}"/>
          </ac:spMkLst>
        </pc:spChg>
        <pc:spChg chg="add mod">
          <ac:chgData name="Connor Xu" userId="a2fa5610-7f85-41f8-9630-afc02cec4fa9" providerId="ADAL" clId="{57EAAC4B-D155-4C96-A5D6-9BC102C82EFF}" dt="2024-09-03T00:10:22.959" v="7408" actId="1036"/>
          <ac:spMkLst>
            <pc:docMk/>
            <pc:sldMk cId="317380609" sldId="2147471681"/>
            <ac:spMk id="21" creationId="{A169B4CD-4D70-EB80-CC74-A0834F2A0B8B}"/>
          </ac:spMkLst>
        </pc:spChg>
        <pc:spChg chg="add mod">
          <ac:chgData name="Connor Xu" userId="a2fa5610-7f85-41f8-9630-afc02cec4fa9" providerId="ADAL" clId="{57EAAC4B-D155-4C96-A5D6-9BC102C82EFF}" dt="2024-09-03T00:10:22.959" v="7408" actId="1036"/>
          <ac:spMkLst>
            <pc:docMk/>
            <pc:sldMk cId="317380609" sldId="2147471681"/>
            <ac:spMk id="22" creationId="{8D8441B3-B796-3CCC-8825-890BC44E2B46}"/>
          </ac:spMkLst>
        </pc:spChg>
        <pc:spChg chg="add mod">
          <ac:chgData name="Connor Xu" userId="a2fa5610-7f85-41f8-9630-afc02cec4fa9" providerId="ADAL" clId="{57EAAC4B-D155-4C96-A5D6-9BC102C82EFF}" dt="2024-09-03T00:10:22.959" v="7408" actId="1036"/>
          <ac:spMkLst>
            <pc:docMk/>
            <pc:sldMk cId="317380609" sldId="2147471681"/>
            <ac:spMk id="23" creationId="{8C5B962E-D15E-0D89-F987-E1E43251E4E6}"/>
          </ac:spMkLst>
        </pc:spChg>
        <pc:spChg chg="add mod">
          <ac:chgData name="Connor Xu" userId="a2fa5610-7f85-41f8-9630-afc02cec4fa9" providerId="ADAL" clId="{57EAAC4B-D155-4C96-A5D6-9BC102C82EFF}" dt="2024-09-03T00:10:22.959" v="7408" actId="1036"/>
          <ac:spMkLst>
            <pc:docMk/>
            <pc:sldMk cId="317380609" sldId="2147471681"/>
            <ac:spMk id="24" creationId="{787CB320-AA9D-8C92-195B-63C5A71A5BB2}"/>
          </ac:spMkLst>
        </pc:spChg>
        <pc:spChg chg="add mod">
          <ac:chgData name="Connor Xu" userId="a2fa5610-7f85-41f8-9630-afc02cec4fa9" providerId="ADAL" clId="{57EAAC4B-D155-4C96-A5D6-9BC102C82EFF}" dt="2024-09-03T00:10:22.959" v="7408" actId="1036"/>
          <ac:spMkLst>
            <pc:docMk/>
            <pc:sldMk cId="317380609" sldId="2147471681"/>
            <ac:spMk id="25" creationId="{41E25835-6056-2C8D-7D09-F6A7696FC99B}"/>
          </ac:spMkLst>
        </pc:spChg>
        <pc:spChg chg="add mod">
          <ac:chgData name="Connor Xu" userId="a2fa5610-7f85-41f8-9630-afc02cec4fa9" providerId="ADAL" clId="{57EAAC4B-D155-4C96-A5D6-9BC102C82EFF}" dt="2024-09-03T00:10:22.959" v="7408" actId="1036"/>
          <ac:spMkLst>
            <pc:docMk/>
            <pc:sldMk cId="317380609" sldId="2147471681"/>
            <ac:spMk id="26" creationId="{B1338060-DF91-B360-972E-0E959DA0114A}"/>
          </ac:spMkLst>
        </pc:spChg>
        <pc:spChg chg="add mod">
          <ac:chgData name="Connor Xu" userId="a2fa5610-7f85-41f8-9630-afc02cec4fa9" providerId="ADAL" clId="{57EAAC4B-D155-4C96-A5D6-9BC102C82EFF}" dt="2024-09-03T00:10:22.959" v="7408" actId="1036"/>
          <ac:spMkLst>
            <pc:docMk/>
            <pc:sldMk cId="317380609" sldId="2147471681"/>
            <ac:spMk id="27" creationId="{BB659721-7005-3690-7BEF-D768DD3D0D8D}"/>
          </ac:spMkLst>
        </pc:spChg>
        <pc:spChg chg="add mod">
          <ac:chgData name="Connor Xu" userId="a2fa5610-7f85-41f8-9630-afc02cec4fa9" providerId="ADAL" clId="{57EAAC4B-D155-4C96-A5D6-9BC102C82EFF}" dt="2024-09-03T00:10:22.959" v="7408" actId="1036"/>
          <ac:spMkLst>
            <pc:docMk/>
            <pc:sldMk cId="317380609" sldId="2147471681"/>
            <ac:spMk id="28" creationId="{8D4DDC3C-BF00-551D-C489-28293E768AD1}"/>
          </ac:spMkLst>
        </pc:spChg>
        <pc:spChg chg="mod">
          <ac:chgData name="Connor Xu" userId="a2fa5610-7f85-41f8-9630-afc02cec4fa9" providerId="ADAL" clId="{57EAAC4B-D155-4C96-A5D6-9BC102C82EFF}" dt="2024-09-03T00:10:17.648" v="7400" actId="403"/>
          <ac:spMkLst>
            <pc:docMk/>
            <pc:sldMk cId="317380609" sldId="2147471681"/>
            <ac:spMk id="33" creationId="{F98D407E-A1CB-A66B-19ED-C8DE5551F8D5}"/>
          </ac:spMkLst>
        </pc:spChg>
      </pc:sldChg>
      <pc:sldChg chg="modSp mod">
        <pc:chgData name="Connor Xu" userId="a2fa5610-7f85-41f8-9630-afc02cec4fa9" providerId="ADAL" clId="{57EAAC4B-D155-4C96-A5D6-9BC102C82EFF}" dt="2024-09-04T04:29:53.909" v="10131" actId="2711"/>
        <pc:sldMkLst>
          <pc:docMk/>
          <pc:sldMk cId="2109793814" sldId="2147471712"/>
        </pc:sldMkLst>
        <pc:spChg chg="mod">
          <ac:chgData name="Connor Xu" userId="a2fa5610-7f85-41f8-9630-afc02cec4fa9" providerId="ADAL" clId="{57EAAC4B-D155-4C96-A5D6-9BC102C82EFF}" dt="2024-09-04T04:29:53.909" v="10131" actId="2711"/>
          <ac:spMkLst>
            <pc:docMk/>
            <pc:sldMk cId="2109793814" sldId="2147471712"/>
            <ac:spMk id="2" creationId="{3C42A615-E19E-F1ED-CA05-77A2773C1430}"/>
          </ac:spMkLst>
        </pc:spChg>
      </pc:sldChg>
      <pc:sldChg chg="delSp modSp del mod">
        <pc:chgData name="Connor Xu" userId="a2fa5610-7f85-41f8-9630-afc02cec4fa9" providerId="ADAL" clId="{57EAAC4B-D155-4C96-A5D6-9BC102C82EFF}" dt="2024-09-02T08:18:50.193" v="3290" actId="47"/>
        <pc:sldMkLst>
          <pc:docMk/>
          <pc:sldMk cId="1934279466" sldId="2147471713"/>
        </pc:sldMkLst>
        <pc:spChg chg="mod">
          <ac:chgData name="Connor Xu" userId="a2fa5610-7f85-41f8-9630-afc02cec4fa9" providerId="ADAL" clId="{57EAAC4B-D155-4C96-A5D6-9BC102C82EFF}" dt="2024-09-02T06:45:08.357" v="634" actId="1076"/>
          <ac:spMkLst>
            <pc:docMk/>
            <pc:sldMk cId="1934279466" sldId="2147471713"/>
            <ac:spMk id="5" creationId="{F64A6E85-BECE-C17C-E08C-F9587F8DA8DD}"/>
          </ac:spMkLst>
        </pc:spChg>
        <pc:spChg chg="del">
          <ac:chgData name="Connor Xu" userId="a2fa5610-7f85-41f8-9630-afc02cec4fa9" providerId="ADAL" clId="{57EAAC4B-D155-4C96-A5D6-9BC102C82EFF}" dt="2024-09-02T06:45:04.303" v="633" actId="478"/>
          <ac:spMkLst>
            <pc:docMk/>
            <pc:sldMk cId="1934279466" sldId="2147471713"/>
            <ac:spMk id="6" creationId="{5E459DAB-63D8-B51A-8CDA-8FFB39CB03CD}"/>
          </ac:spMkLst>
        </pc:spChg>
      </pc:sldChg>
      <pc:sldChg chg="modSp new del mod ord">
        <pc:chgData name="Connor Xu" userId="a2fa5610-7f85-41f8-9630-afc02cec4fa9" providerId="ADAL" clId="{57EAAC4B-D155-4C96-A5D6-9BC102C82EFF}" dt="2024-09-03T02:55:50.390" v="9742" actId="47"/>
        <pc:sldMkLst>
          <pc:docMk/>
          <pc:sldMk cId="3668264655" sldId="2147471714"/>
        </pc:sldMkLst>
        <pc:spChg chg="mod">
          <ac:chgData name="Connor Xu" userId="a2fa5610-7f85-41f8-9630-afc02cec4fa9" providerId="ADAL" clId="{57EAAC4B-D155-4C96-A5D6-9BC102C82EFF}" dt="2024-09-02T06:41:32.249" v="228" actId="20577"/>
          <ac:spMkLst>
            <pc:docMk/>
            <pc:sldMk cId="3668264655" sldId="2147471714"/>
            <ac:spMk id="2" creationId="{C112DD15-2F72-E817-BFA9-3926B3B2312E}"/>
          </ac:spMkLst>
        </pc:spChg>
      </pc:sldChg>
      <pc:sldMasterChg chg="delSldLayout">
        <pc:chgData name="Connor Xu" userId="a2fa5610-7f85-41f8-9630-afc02cec4fa9" providerId="ADAL" clId="{57EAAC4B-D155-4C96-A5D6-9BC102C82EFF}" dt="2024-09-03T02:55:50.390" v="9742" actId="47"/>
        <pc:sldMasterMkLst>
          <pc:docMk/>
          <pc:sldMasterMk cId="3713331802" sldId="2147483670"/>
        </pc:sldMasterMkLst>
        <pc:sldLayoutChg chg="del">
          <pc:chgData name="Connor Xu" userId="a2fa5610-7f85-41f8-9630-afc02cec4fa9" providerId="ADAL" clId="{57EAAC4B-D155-4C96-A5D6-9BC102C82EFF}" dt="2024-09-02T08:18:50.193" v="3290" actId="47"/>
          <pc:sldLayoutMkLst>
            <pc:docMk/>
            <pc:sldMasterMk cId="3713331802" sldId="2147483670"/>
            <pc:sldLayoutMk cId="253005755" sldId="2147483804"/>
          </pc:sldLayoutMkLst>
        </pc:sldLayoutChg>
        <pc:sldLayoutChg chg="del">
          <pc:chgData name="Connor Xu" userId="a2fa5610-7f85-41f8-9630-afc02cec4fa9" providerId="ADAL" clId="{57EAAC4B-D155-4C96-A5D6-9BC102C82EFF}" dt="2024-09-03T02:55:50.390" v="9742" actId="47"/>
          <pc:sldLayoutMkLst>
            <pc:docMk/>
            <pc:sldMasterMk cId="3713331802" sldId="2147483670"/>
            <pc:sldLayoutMk cId="662125368" sldId="2147483805"/>
          </pc:sldLayoutMkLst>
        </pc:sldLayoutChg>
        <pc:sldLayoutChg chg="del">
          <pc:chgData name="Connor Xu" userId="a2fa5610-7f85-41f8-9630-afc02cec4fa9" providerId="ADAL" clId="{57EAAC4B-D155-4C96-A5D6-9BC102C82EFF}" dt="2024-09-02T23:44:00.508" v="4979" actId="47"/>
          <pc:sldLayoutMkLst>
            <pc:docMk/>
            <pc:sldMasterMk cId="3713331802" sldId="2147483670"/>
            <pc:sldLayoutMk cId="157176178" sldId="2147483806"/>
          </pc:sldLayoutMkLst>
        </pc:sldLayoutChg>
      </pc:sldMasterChg>
    </pc:docChg>
  </pc:docChgLst>
  <pc:docChgLst>
    <pc:chgData name="Colin Watson" userId="f5e523bd-da60-44d7-a928-0f65409075c6" providerId="ADAL" clId="{5C18997D-4422-47BD-B560-5C1590935495}"/>
    <pc:docChg chg="modSld">
      <pc:chgData name="Colin Watson" userId="f5e523bd-da60-44d7-a928-0f65409075c6" providerId="ADAL" clId="{5C18997D-4422-47BD-B560-5C1590935495}" dt="2024-10-22T04:51:04.409" v="95" actId="20577"/>
      <pc:docMkLst>
        <pc:docMk/>
      </pc:docMkLst>
      <pc:sldChg chg="modSp mod modCm">
        <pc:chgData name="Colin Watson" userId="f5e523bd-da60-44d7-a928-0f65409075c6" providerId="ADAL" clId="{5C18997D-4422-47BD-B560-5C1590935495}" dt="2024-10-22T04:50:00.450" v="50" actId="20577"/>
        <pc:sldMkLst>
          <pc:docMk/>
          <pc:sldMk cId="806101404" sldId="2147471590"/>
        </pc:sldMkLst>
        <pc:spChg chg="mod">
          <ac:chgData name="Colin Watson" userId="f5e523bd-da60-44d7-a928-0f65409075c6" providerId="ADAL" clId="{5C18997D-4422-47BD-B560-5C1590935495}" dt="2024-10-22T04:50:00.450" v="50" actId="20577"/>
          <ac:spMkLst>
            <pc:docMk/>
            <pc:sldMk cId="806101404" sldId="2147471590"/>
            <ac:spMk id="29" creationId="{2CD2714C-41C8-65F4-01D2-A1F2353866B7}"/>
          </ac:spMkLst>
        </pc:sp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5C18997D-4422-47BD-B560-5C1590935495}" dt="2024-10-22T04:50:00.450" v="50" actId="20577"/>
              <pc2:cmMkLst xmlns:pc2="http://schemas.microsoft.com/office/powerpoint/2019/9/main/command">
                <pc:docMk/>
                <pc:sldMk cId="806101404" sldId="2147471590"/>
                <pc2:cmMk id="{2D65A8B6-8158-42A1-A46D-AD73597F1332}"/>
              </pc2:cmMkLst>
            </pc226:cmChg>
          </p:ext>
        </pc:extLst>
      </pc:sldChg>
      <pc:sldChg chg="modSp mod modCm">
        <pc:chgData name="Colin Watson" userId="f5e523bd-da60-44d7-a928-0f65409075c6" providerId="ADAL" clId="{5C18997D-4422-47BD-B560-5C1590935495}" dt="2024-10-22T04:51:04.409" v="95" actId="20577"/>
        <pc:sldMkLst>
          <pc:docMk/>
          <pc:sldMk cId="4208571328" sldId="2147471596"/>
        </pc:sldMkLst>
        <pc:spChg chg="mod">
          <ac:chgData name="Colin Watson" userId="f5e523bd-da60-44d7-a928-0f65409075c6" providerId="ADAL" clId="{5C18997D-4422-47BD-B560-5C1590935495}" dt="2024-10-22T04:51:04.409" v="95" actId="20577"/>
          <ac:spMkLst>
            <pc:docMk/>
            <pc:sldMk cId="4208571328" sldId="2147471596"/>
            <ac:spMk id="9" creationId="{21908228-9DBE-7E05-4353-04EC9B209AC0}"/>
          </ac:spMkLst>
        </pc:spChg>
        <pc:spChg chg="mod">
          <ac:chgData name="Colin Watson" userId="f5e523bd-da60-44d7-a928-0f65409075c6" providerId="ADAL" clId="{5C18997D-4422-47BD-B560-5C1590935495}" dt="2024-10-22T04:49:08.577" v="29" actId="20577"/>
          <ac:spMkLst>
            <pc:docMk/>
            <pc:sldMk cId="4208571328" sldId="2147471596"/>
            <ac:spMk id="46" creationId="{E8B7FA9D-4014-C76C-4C31-AA65BDEF68FC}"/>
          </ac:spMkLst>
        </pc:sp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5C18997D-4422-47BD-B560-5C1590935495}" dt="2024-10-22T04:49:08.577" v="29" actId="20577"/>
              <pc2:cmMkLst xmlns:pc2="http://schemas.microsoft.com/office/powerpoint/2019/9/main/command">
                <pc:docMk/>
                <pc:sldMk cId="4208571328" sldId="2147471596"/>
                <pc2:cmMk id="{38751B40-FD20-49F5-AED5-C4F11A1AA55E}"/>
              </pc2:cmMkLst>
            </pc226:cmChg>
          </p:ext>
        </pc:extLst>
      </pc:sldChg>
      <pc:sldChg chg="modSp mod modCm">
        <pc:chgData name="Colin Watson" userId="f5e523bd-da60-44d7-a928-0f65409075c6" providerId="ADAL" clId="{5C18997D-4422-47BD-B560-5C1590935495}" dt="2024-10-22T04:48:38.159" v="19" actId="20577"/>
        <pc:sldMkLst>
          <pc:docMk/>
          <pc:sldMk cId="2887098628" sldId="2147471648"/>
        </pc:sldMkLst>
        <pc:spChg chg="mod">
          <ac:chgData name="Colin Watson" userId="f5e523bd-da60-44d7-a928-0f65409075c6" providerId="ADAL" clId="{5C18997D-4422-47BD-B560-5C1590935495}" dt="2024-10-22T04:48:38.159" v="19" actId="20577"/>
          <ac:spMkLst>
            <pc:docMk/>
            <pc:sldMk cId="2887098628" sldId="2147471648"/>
            <ac:spMk id="21" creationId="{FB2D641F-7EE6-BED9-C5FC-DF6B9F5C3E5D}"/>
          </ac:spMkLst>
        </pc:sp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5C18997D-4422-47BD-B560-5C1590935495}" dt="2024-10-22T04:48:38.159" v="19" actId="20577"/>
              <pc2:cmMkLst xmlns:pc2="http://schemas.microsoft.com/office/powerpoint/2019/9/main/command">
                <pc:docMk/>
                <pc:sldMk cId="2887098628" sldId="2147471648"/>
                <pc2:cmMk id="{555C50B5-30E2-4B11-883F-39CCC57151DD}"/>
              </pc2:cmMkLst>
            </pc226:cmChg>
          </p:ext>
        </pc:extLst>
      </pc:sldChg>
      <pc:sldChg chg="modSp mod modCm">
        <pc:chgData name="Colin Watson" userId="f5e523bd-da60-44d7-a928-0f65409075c6" providerId="ADAL" clId="{5C18997D-4422-47BD-B560-5C1590935495}" dt="2024-10-22T04:50:11.876" v="62" actId="20577"/>
        <pc:sldMkLst>
          <pc:docMk/>
          <pc:sldMk cId="1234428817" sldId="2147471653"/>
        </pc:sldMkLst>
        <pc:spChg chg="mod">
          <ac:chgData name="Colin Watson" userId="f5e523bd-da60-44d7-a928-0f65409075c6" providerId="ADAL" clId="{5C18997D-4422-47BD-B560-5C1590935495}" dt="2024-10-22T04:50:11.876" v="62" actId="20577"/>
          <ac:spMkLst>
            <pc:docMk/>
            <pc:sldMk cId="1234428817" sldId="2147471653"/>
            <ac:spMk id="30" creationId="{189870B5-3BD3-B1B8-E723-ED7702045A6C}"/>
          </ac:spMkLst>
        </pc:spChg>
        <pc:extLst>
          <p:ext xmlns:p="http://schemas.openxmlformats.org/presentationml/2006/main" uri="{D6D511B9-2390-475A-947B-AFAB55BFBCF1}">
            <pc226:cmChg xmlns:pc226="http://schemas.microsoft.com/office/powerpoint/2022/06/main/command" chg="mod">
              <pc226:chgData name="Colin Watson" userId="f5e523bd-da60-44d7-a928-0f65409075c6" providerId="ADAL" clId="{5C18997D-4422-47BD-B560-5C1590935495}" dt="2024-10-22T04:50:11.876" v="62" actId="20577"/>
              <pc2:cmMkLst xmlns:pc2="http://schemas.microsoft.com/office/powerpoint/2019/9/main/command">
                <pc:docMk/>
                <pc:sldMk cId="1234428817" sldId="2147471653"/>
                <pc2:cmMk id="{E00E607D-83A8-43BC-B35D-6570AED755EE}"/>
              </pc2:cmMkLst>
            </pc226:cmChg>
            <pc226:cmChg xmlns:pc226="http://schemas.microsoft.com/office/powerpoint/2022/06/main/command" chg="mod">
              <pc226:chgData name="Colin Watson" userId="f5e523bd-da60-44d7-a928-0f65409075c6" providerId="ADAL" clId="{5C18997D-4422-47BD-B560-5C1590935495}" dt="2024-10-22T04:50:05.506" v="51" actId="6549"/>
              <pc2:cmMkLst xmlns:pc2="http://schemas.microsoft.com/office/powerpoint/2019/9/main/command">
                <pc:docMk/>
                <pc:sldMk cId="1234428817" sldId="2147471653"/>
                <pc2:cmMk id="{B1D129BD-E704-497F-9672-6977C770A07D}"/>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307047" cy="718423"/>
          </a:xfrm>
          <a:prstGeom prst="rect">
            <a:avLst/>
          </a:prstGeom>
        </p:spPr>
        <p:txBody>
          <a:bodyPr vert="horz" lIns="132725" tIns="66363" rIns="132725" bIns="66363" rtlCol="0"/>
          <a:lstStyle>
            <a:lvl1pPr algn="l">
              <a:defRPr sz="1700"/>
            </a:lvl1pPr>
          </a:lstStyle>
          <a:p>
            <a:endParaRPr lang="en-AU"/>
          </a:p>
        </p:txBody>
      </p:sp>
      <p:sp>
        <p:nvSpPr>
          <p:cNvPr id="3" name="Date Placeholder 2"/>
          <p:cNvSpPr>
            <a:spLocks noGrp="1"/>
          </p:cNvSpPr>
          <p:nvPr>
            <p:ph type="dt" sz="quarter" idx="1"/>
          </p:nvPr>
        </p:nvSpPr>
        <p:spPr>
          <a:xfrm>
            <a:off x="5629992" y="1"/>
            <a:ext cx="4307047" cy="718423"/>
          </a:xfrm>
          <a:prstGeom prst="rect">
            <a:avLst/>
          </a:prstGeom>
        </p:spPr>
        <p:txBody>
          <a:bodyPr vert="horz" lIns="132725" tIns="66363" rIns="132725" bIns="66363" rtlCol="0"/>
          <a:lstStyle>
            <a:lvl1pPr algn="r">
              <a:defRPr sz="1700"/>
            </a:lvl1pPr>
          </a:lstStyle>
          <a:p>
            <a:fld id="{49A2865F-B372-43D2-8255-7FA4007EBB59}" type="datetimeFigureOut">
              <a:rPr lang="en-AU" smtClean="0"/>
              <a:t>28/10/2024</a:t>
            </a:fld>
            <a:endParaRPr lang="en-AU"/>
          </a:p>
        </p:txBody>
      </p:sp>
      <p:sp>
        <p:nvSpPr>
          <p:cNvPr id="4" name="Footer Placeholder 3"/>
          <p:cNvSpPr>
            <a:spLocks noGrp="1"/>
          </p:cNvSpPr>
          <p:nvPr>
            <p:ph type="ftr" sz="quarter" idx="2"/>
          </p:nvPr>
        </p:nvSpPr>
        <p:spPr>
          <a:xfrm>
            <a:off x="1" y="13647547"/>
            <a:ext cx="4307047" cy="718423"/>
          </a:xfrm>
          <a:prstGeom prst="rect">
            <a:avLst/>
          </a:prstGeom>
        </p:spPr>
        <p:txBody>
          <a:bodyPr vert="horz" lIns="132725" tIns="66363" rIns="132725" bIns="66363" rtlCol="0" anchor="b"/>
          <a:lstStyle>
            <a:lvl1pPr algn="l">
              <a:defRPr sz="1700"/>
            </a:lvl1pPr>
          </a:lstStyle>
          <a:p>
            <a:endParaRPr lang="en-AU"/>
          </a:p>
        </p:txBody>
      </p:sp>
      <p:sp>
        <p:nvSpPr>
          <p:cNvPr id="5" name="Slide Number Placeholder 4"/>
          <p:cNvSpPr>
            <a:spLocks noGrp="1"/>
          </p:cNvSpPr>
          <p:nvPr>
            <p:ph type="sldNum" sz="quarter" idx="3"/>
          </p:nvPr>
        </p:nvSpPr>
        <p:spPr>
          <a:xfrm>
            <a:off x="5629992" y="13647547"/>
            <a:ext cx="4307047" cy="718423"/>
          </a:xfrm>
          <a:prstGeom prst="rect">
            <a:avLst/>
          </a:prstGeom>
        </p:spPr>
        <p:txBody>
          <a:bodyPr vert="horz" lIns="132725" tIns="66363" rIns="132725" bIns="66363" rtlCol="0" anchor="b"/>
          <a:lstStyle>
            <a:lvl1pPr algn="r">
              <a:defRPr sz="17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4526" userDrawn="1">
          <p15:clr>
            <a:srgbClr val="F26B43"/>
          </p15:clr>
        </p15:guide>
        <p15:guide id="2" pos="313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307047" cy="718423"/>
          </a:xfrm>
          <a:prstGeom prst="rect">
            <a:avLst/>
          </a:prstGeom>
        </p:spPr>
        <p:txBody>
          <a:bodyPr vert="horz" lIns="132725" tIns="66363" rIns="132725" bIns="66363" rtlCol="0"/>
          <a:lstStyle>
            <a:lvl1pPr algn="l" rtl="0">
              <a:defRPr sz="1700"/>
            </a:lvl1pPr>
          </a:lstStyle>
          <a:p>
            <a:endParaRPr lang="en-AU"/>
          </a:p>
        </p:txBody>
      </p:sp>
      <p:sp>
        <p:nvSpPr>
          <p:cNvPr id="3" name="Date Placeholder 2"/>
          <p:cNvSpPr>
            <a:spLocks noGrp="1"/>
          </p:cNvSpPr>
          <p:nvPr>
            <p:ph type="dt" idx="1"/>
          </p:nvPr>
        </p:nvSpPr>
        <p:spPr>
          <a:xfrm>
            <a:off x="5629992" y="1"/>
            <a:ext cx="4307047" cy="718423"/>
          </a:xfrm>
          <a:prstGeom prst="rect">
            <a:avLst/>
          </a:prstGeom>
        </p:spPr>
        <p:txBody>
          <a:bodyPr vert="horz" lIns="132725" tIns="66363" rIns="132725" bIns="66363" rtlCol="0"/>
          <a:lstStyle>
            <a:lvl1pPr algn="r" rtl="0">
              <a:defRPr sz="1700"/>
            </a:lvl1pPr>
          </a:lstStyle>
          <a:p>
            <a:fld id="{0834D938-244D-4739-949C-2C3FCC68DC46}" type="datetimeFigureOut">
              <a:rPr lang="en-AU" smtClean="0"/>
              <a:pPr/>
              <a:t>28/10/2024</a:t>
            </a:fld>
            <a:endParaRPr lang="en-AU"/>
          </a:p>
        </p:txBody>
      </p:sp>
      <p:sp>
        <p:nvSpPr>
          <p:cNvPr id="4" name="Slide Image Placeholder 3"/>
          <p:cNvSpPr>
            <a:spLocks noGrp="1" noRot="1" noChangeAspect="1"/>
          </p:cNvSpPr>
          <p:nvPr>
            <p:ph type="sldImg" idx="2"/>
          </p:nvPr>
        </p:nvSpPr>
        <p:spPr>
          <a:xfrm>
            <a:off x="1079500" y="1077913"/>
            <a:ext cx="7780338" cy="5386387"/>
          </a:xfrm>
          <a:prstGeom prst="rect">
            <a:avLst/>
          </a:prstGeom>
          <a:noFill/>
          <a:ln w="12700">
            <a:solidFill>
              <a:prstClr val="black"/>
            </a:solidFill>
          </a:ln>
        </p:spPr>
        <p:txBody>
          <a:bodyPr vert="horz" lIns="132725" tIns="66363" rIns="132725" bIns="66363" rtlCol="0" anchor="ctr"/>
          <a:lstStyle/>
          <a:p>
            <a:endParaRPr lang="en-AU"/>
          </a:p>
        </p:txBody>
      </p:sp>
      <p:sp>
        <p:nvSpPr>
          <p:cNvPr id="5" name="Notes Placeholder 4"/>
          <p:cNvSpPr>
            <a:spLocks noGrp="1"/>
          </p:cNvSpPr>
          <p:nvPr>
            <p:ph type="body" sz="quarter" idx="3"/>
          </p:nvPr>
        </p:nvSpPr>
        <p:spPr>
          <a:xfrm>
            <a:off x="993934" y="6825021"/>
            <a:ext cx="7951470" cy="6465808"/>
          </a:xfrm>
          <a:prstGeom prst="rect">
            <a:avLst/>
          </a:prstGeom>
        </p:spPr>
        <p:txBody>
          <a:bodyPr vert="horz" lIns="132725" tIns="66363" rIns="132725" bIns="66363"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1" y="13647547"/>
            <a:ext cx="4307047" cy="718423"/>
          </a:xfrm>
          <a:prstGeom prst="rect">
            <a:avLst/>
          </a:prstGeom>
        </p:spPr>
        <p:txBody>
          <a:bodyPr vert="horz" lIns="132725" tIns="66363" rIns="132725" bIns="66363" rtlCol="0" anchor="b"/>
          <a:lstStyle>
            <a:lvl1pPr algn="l" rtl="0">
              <a:defRPr sz="1700"/>
            </a:lvl1pPr>
          </a:lstStyle>
          <a:p>
            <a:endParaRPr lang="en-AU"/>
          </a:p>
        </p:txBody>
      </p:sp>
      <p:sp>
        <p:nvSpPr>
          <p:cNvPr id="7" name="Slide Number Placeholder 6"/>
          <p:cNvSpPr>
            <a:spLocks noGrp="1"/>
          </p:cNvSpPr>
          <p:nvPr>
            <p:ph type="sldNum" sz="quarter" idx="5"/>
          </p:nvPr>
        </p:nvSpPr>
        <p:spPr>
          <a:xfrm>
            <a:off x="5629992" y="13647547"/>
            <a:ext cx="4307047" cy="718423"/>
          </a:xfrm>
          <a:prstGeom prst="rect">
            <a:avLst/>
          </a:prstGeom>
        </p:spPr>
        <p:txBody>
          <a:bodyPr vert="horz" lIns="132725" tIns="66363" rIns="132725" bIns="66363" rtlCol="0" anchor="b"/>
          <a:lstStyle>
            <a:lvl1pPr algn="r" rtl="0">
              <a:defRPr sz="17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7600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44474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671598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5.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6.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7.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29.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0.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31.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hemeOverride" Target="../theme/themeOverride3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hemeOverride" Target="../theme/themeOverride33.x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7C3EFA40-0809-7BAB-D117-3DE99FC36C9B}"/>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6765131" y="1"/>
            <a:ext cx="31408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546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1756"/>
            <a:ext cx="5889375"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588937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4F79629A-E52B-6B41-FDB5-3357708E553A}"/>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3BAA4891-6448-6156-D52F-3866EC3AC40E}"/>
              </a:ext>
            </a:extLst>
          </p:cNvPr>
          <p:cNvSpPr/>
          <p:nvPr userDrawn="1"/>
        </p:nvSpPr>
        <p:spPr>
          <a:xfrm>
            <a:off x="0" y="1124744"/>
            <a:ext cx="6765131"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Tree>
    <p:extLst>
      <p:ext uri="{BB962C8B-B14F-4D97-AF65-F5344CB8AC3E}">
        <p14:creationId xmlns:p14="http://schemas.microsoft.com/office/powerpoint/2010/main" val="31525125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0904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558839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87621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61719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507991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086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98629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81313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823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057101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86505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82896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30413DF-8AD5-4747-FC5C-C833EE375A58}"/>
              </a:ext>
            </a:extLst>
          </p:cNvPr>
          <p:cNvSpPr/>
          <p:nvPr userDrawn="1"/>
        </p:nvSpPr>
        <p:spPr>
          <a:xfrm>
            <a:off x="0" y="1632857"/>
            <a:ext cx="9906000" cy="522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92287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6" name="TextBox 5">
            <a:extLst>
              <a:ext uri="{FF2B5EF4-FFF2-40B4-BE49-F238E27FC236}">
                <a16:creationId xmlns:a16="http://schemas.microsoft.com/office/drawing/2014/main" id="{33318630-AB47-0A64-E45A-33A4FBA1558A}"/>
              </a:ext>
            </a:extLst>
          </p:cNvPr>
          <p:cNvSpPr txBox="1"/>
          <p:nvPr userDrawn="1">
            <p:extLst>
              <p:ext uri="{1162E1C5-73C7-4A58-AE30-91384D911F3F}">
                <p184:classification xmlns:p184="http://schemas.microsoft.com/office/powerpoint/2018/4/main" val="ftr"/>
              </p:ext>
            </p:extLst>
          </p:nvPr>
        </p:nvSpPr>
        <p:spPr>
          <a:xfrm>
            <a:off x="63500" y="6626860"/>
            <a:ext cx="534988" cy="167640"/>
          </a:xfrm>
          <a:prstGeom prst="rect">
            <a:avLst/>
          </a:prstGeom>
        </p:spPr>
        <p:txBody>
          <a:bodyPr horzOverflow="overflow" lIns="0" tIns="0" rIns="0" bIns="0">
            <a:spAutoFit/>
          </a:bodyPr>
          <a:lstStyle/>
          <a:p>
            <a:pPr algn="l"/>
            <a:r>
              <a:rPr lang="en-AU" sz="11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801" r:id="rId14"/>
    <p:sldLayoutId id="2147483772" r:id="rId15"/>
    <p:sldLayoutId id="2147483796" r:id="rId16"/>
    <p:sldLayoutId id="2147483793" r:id="rId17"/>
    <p:sldLayoutId id="2147483797" r:id="rId18"/>
    <p:sldLayoutId id="2147483794" r:id="rId19"/>
    <p:sldLayoutId id="2147483798" r:id="rId20"/>
    <p:sldLayoutId id="2147483795" r:id="rId21"/>
    <p:sldLayoutId id="2147483799" r:id="rId22"/>
    <p:sldLayoutId id="2147483792" r:id="rId23"/>
    <p:sldLayoutId id="2147483800" r:id="rId24"/>
    <p:sldLayoutId id="2147483692" r:id="rId25"/>
    <p:sldLayoutId id="2147483725" r:id="rId26"/>
    <p:sldLayoutId id="2147483726" r:id="rId27"/>
    <p:sldLayoutId id="2147483755" r:id="rId28"/>
    <p:sldLayoutId id="2147483745" r:id="rId29"/>
    <p:sldLayoutId id="2147483760" r:id="rId30"/>
    <p:sldLayoutId id="2147483763" r:id="rId31"/>
    <p:sldLayoutId id="2147483676" r:id="rId32"/>
    <p:sldLayoutId id="2147483687" r:id="rId33"/>
    <p:sldLayoutId id="2147483788" r:id="rId34"/>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37.xml"/><Relationship Id="rId5" Type="http://schemas.openxmlformats.org/officeDocument/2006/relationships/image" Target="../media/image10.emf"/><Relationship Id="rId4" Type="http://schemas.openxmlformats.org/officeDocument/2006/relationships/oleObject" Target="../embeddings/oleObject3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11.emf"/><Relationship Id="rId4" Type="http://schemas.openxmlformats.org/officeDocument/2006/relationships/oleObject" Target="../embeddings/oleObject37.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4.xml"/><Relationship Id="rId1" Type="http://schemas.openxmlformats.org/officeDocument/2006/relationships/tags" Target="../tags/tag39.xml"/><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4.xml"/><Relationship Id="rId1" Type="http://schemas.openxmlformats.org/officeDocument/2006/relationships/tags" Target="../tags/tag40.xml"/><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14.xml"/><Relationship Id="rId1" Type="http://schemas.openxmlformats.org/officeDocument/2006/relationships/tags" Target="../tags/tag41.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7.emf"/><Relationship Id="rId4" Type="http://schemas.openxmlformats.org/officeDocument/2006/relationships/oleObject" Target="../embeddings/oleObject4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3557D91-2EBE-9A9B-7BA0-F901A912382B}"/>
              </a:ext>
            </a:extLst>
          </p:cNvPr>
          <p:cNvSpPr/>
          <p:nvPr/>
        </p:nvSpPr>
        <p:spPr>
          <a:xfrm>
            <a:off x="-1149" y="-24252"/>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4" name="Graphic elements">
            <a:extLst>
              <a:ext uri="{FF2B5EF4-FFF2-40B4-BE49-F238E27FC236}">
                <a16:creationId xmlns:a16="http://schemas.microsoft.com/office/drawing/2014/main" id="{FBF82247-58A5-7D2B-7F48-249373145B80}"/>
              </a:ext>
            </a:extLst>
          </p:cNvPr>
          <p:cNvGrpSpPr/>
          <p:nvPr/>
        </p:nvGrpSpPr>
        <p:grpSpPr>
          <a:xfrm flipH="1">
            <a:off x="0" y="5091544"/>
            <a:ext cx="2139886" cy="1072331"/>
            <a:chOff x="3535488" y="2524125"/>
            <a:chExt cx="8643185" cy="4331239"/>
          </a:xfrm>
        </p:grpSpPr>
        <p:sp>
          <p:nvSpPr>
            <p:cNvPr id="5" name="Freeform: Shape 4">
              <a:extLst>
                <a:ext uri="{FF2B5EF4-FFF2-40B4-BE49-F238E27FC236}">
                  <a16:creationId xmlns:a16="http://schemas.microsoft.com/office/drawing/2014/main" id="{AEDCDA9C-AA5C-0EE9-2A19-B768B22EA235}"/>
                </a:ext>
              </a:extLst>
            </p:cNvPr>
            <p:cNvSpPr/>
            <p:nvPr/>
          </p:nvSpPr>
          <p:spPr>
            <a:xfrm rot="18900000">
              <a:off x="6330084" y="3128498"/>
              <a:ext cx="3060347" cy="3060344"/>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endParaRPr lang="en-AU" dirty="0"/>
            </a:p>
          </p:txBody>
        </p:sp>
        <p:sp>
          <p:nvSpPr>
            <p:cNvPr id="6" name="Freeform: Shape 5">
              <a:extLst>
                <a:ext uri="{FF2B5EF4-FFF2-40B4-BE49-F238E27FC236}">
                  <a16:creationId xmlns:a16="http://schemas.microsoft.com/office/drawing/2014/main" id="{5E14F3BE-4A97-FA72-D36D-CCAD9E58D0AC}"/>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EB05E67D-D648-B250-6232-79A27F44642D}"/>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8" name="Freeform: Shape 7">
              <a:extLst>
                <a:ext uri="{FF2B5EF4-FFF2-40B4-BE49-F238E27FC236}">
                  <a16:creationId xmlns:a16="http://schemas.microsoft.com/office/drawing/2014/main" id="{956E2996-6D75-5F3D-06B8-703B3C6D69EA}"/>
                </a:ext>
              </a:extLst>
            </p:cNvPr>
            <p:cNvSpPr/>
            <p:nvPr/>
          </p:nvSpPr>
          <p:spPr>
            <a:xfrm>
              <a:off x="7850731" y="4649683"/>
              <a:ext cx="4327942" cy="2164030"/>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endParaRPr lang="en-AU"/>
            </a:p>
          </p:txBody>
        </p:sp>
      </p:grpSp>
      <p:sp>
        <p:nvSpPr>
          <p:cNvPr id="9" name="Text Placeholder 3">
            <a:extLst>
              <a:ext uri="{FF2B5EF4-FFF2-40B4-BE49-F238E27FC236}">
                <a16:creationId xmlns:a16="http://schemas.microsoft.com/office/drawing/2014/main" id="{EC7C2BED-2407-5028-C4AF-EF23897CE63F}"/>
              </a:ext>
            </a:extLst>
          </p:cNvPr>
          <p:cNvSpPr>
            <a:spLocks noGrp="1"/>
          </p:cNvSpPr>
          <p:nvPr>
            <p:ph type="body" sz="quarter" idx="10"/>
          </p:nvPr>
        </p:nvSpPr>
        <p:spPr>
          <a:xfrm>
            <a:off x="533394" y="3357562"/>
            <a:ext cx="8517300" cy="806181"/>
          </a:xfrm>
        </p:spPr>
        <p:txBody>
          <a:bodyPr/>
          <a:lstStyle/>
          <a:p>
            <a:r>
              <a:rPr lang="en-AU" b="1" dirty="0"/>
              <a:t>GUIDANCE TO REVIEW DATA AND INFORMATION ARCHITECTURE</a:t>
            </a:r>
          </a:p>
        </p:txBody>
      </p:sp>
      <p:sp>
        <p:nvSpPr>
          <p:cNvPr id="10" name="Text Placeholder 4">
            <a:extLst>
              <a:ext uri="{FF2B5EF4-FFF2-40B4-BE49-F238E27FC236}">
                <a16:creationId xmlns:a16="http://schemas.microsoft.com/office/drawing/2014/main" id="{943ECE6E-897E-B14C-3F86-EDF303FB621E}"/>
              </a:ext>
            </a:extLst>
          </p:cNvPr>
          <p:cNvSpPr txBox="1">
            <a:spLocks/>
          </p:cNvSpPr>
          <p:nvPr/>
        </p:nvSpPr>
        <p:spPr>
          <a:xfrm>
            <a:off x="533394" y="4154217"/>
            <a:ext cx="5674573" cy="535773"/>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200" dirty="0"/>
              <a:t>This tool provides a framework for regulators to consider when assessing their data and information architecture.</a:t>
            </a:r>
          </a:p>
        </p:txBody>
      </p:sp>
      <p:pic>
        <p:nvPicPr>
          <p:cNvPr id="12" name="Picture 11">
            <a:extLst>
              <a:ext uri="{FF2B5EF4-FFF2-40B4-BE49-F238E27FC236}">
                <a16:creationId xmlns:a16="http://schemas.microsoft.com/office/drawing/2014/main" id="{F9561050-3362-4438-16AB-CFAEBA37F032}"/>
              </a:ext>
            </a:extLst>
          </p:cNvPr>
          <p:cNvPicPr>
            <a:picLocks noChangeAspect="1"/>
          </p:cNvPicPr>
          <p:nvPr/>
        </p:nvPicPr>
        <p:blipFill>
          <a:blip r:embed="rId2"/>
          <a:stretch>
            <a:fillRect/>
          </a:stretch>
        </p:blipFill>
        <p:spPr>
          <a:xfrm>
            <a:off x="7533455" y="409688"/>
            <a:ext cx="2199580" cy="566016"/>
          </a:xfrm>
          <a:prstGeom prst="rect">
            <a:avLst/>
          </a:prstGeom>
        </p:spPr>
      </p:pic>
      <p:pic>
        <p:nvPicPr>
          <p:cNvPr id="13" name="Picture 12">
            <a:extLst>
              <a:ext uri="{FF2B5EF4-FFF2-40B4-BE49-F238E27FC236}">
                <a16:creationId xmlns:a16="http://schemas.microsoft.com/office/drawing/2014/main" id="{C0B9FF5C-3914-D030-907D-6FFB77FAB83A}"/>
              </a:ext>
            </a:extLst>
          </p:cNvPr>
          <p:cNvPicPr>
            <a:picLocks noChangeAspect="1"/>
          </p:cNvPicPr>
          <p:nvPr/>
        </p:nvPicPr>
        <p:blipFill>
          <a:blip r:embed="rId3"/>
          <a:stretch>
            <a:fillRect/>
          </a:stretch>
        </p:blipFill>
        <p:spPr>
          <a:xfrm>
            <a:off x="6066514" y="170804"/>
            <a:ext cx="1466941" cy="1043784"/>
          </a:xfrm>
          <a:prstGeom prst="rect">
            <a:avLst/>
          </a:prstGeom>
        </p:spPr>
      </p:pic>
    </p:spTree>
    <p:extLst>
      <p:ext uri="{BB962C8B-B14F-4D97-AF65-F5344CB8AC3E}">
        <p14:creationId xmlns:p14="http://schemas.microsoft.com/office/powerpoint/2010/main" val="37352863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E778895-E15C-06DA-F496-F0BF927376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8" name="think-cell data - do not delete" hidden="1">
                        <a:extLst>
                          <a:ext uri="{FF2B5EF4-FFF2-40B4-BE49-F238E27FC236}">
                            <a16:creationId xmlns:a16="http://schemas.microsoft.com/office/drawing/2014/main" id="{5E778895-E15C-06DA-F496-F0BF927376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FB2D641F-7EE6-BED9-C5FC-DF6B9F5C3E5D}"/>
              </a:ext>
            </a:extLst>
          </p:cNvPr>
          <p:cNvSpPr>
            <a:spLocks noGrp="1"/>
          </p:cNvSpPr>
          <p:nvPr>
            <p:ph sz="quarter" idx="15"/>
          </p:nvPr>
        </p:nvSpPr>
        <p:spPr>
          <a:xfrm>
            <a:off x="540001" y="1220344"/>
            <a:ext cx="5896518" cy="1405978"/>
          </a:xfrm>
        </p:spPr>
        <p:txBody>
          <a:bodyPr vert="horz" lIns="0" tIns="45713" rIns="0" bIns="45713" rtlCol="0" anchor="t">
            <a:noAutofit/>
          </a:bodyPr>
          <a:lstStyle/>
          <a:p>
            <a:pPr>
              <a:spcBef>
                <a:spcPts val="500"/>
              </a:spcBef>
            </a:pPr>
            <a:r>
              <a:rPr lang="en-AU" sz="1050" dirty="0">
                <a:solidFill>
                  <a:schemeClr val="tx1"/>
                </a:solidFill>
                <a:cs typeface="Segoe UI"/>
              </a:rPr>
              <a:t>This tool provides a framework for regulators to consider when evaluating their knowledge management systems and processes. </a:t>
            </a:r>
          </a:p>
          <a:p>
            <a:pPr>
              <a:spcBef>
                <a:spcPts val="500"/>
              </a:spcBef>
            </a:pPr>
            <a:r>
              <a:rPr lang="en-AU" sz="1050" dirty="0">
                <a:solidFill>
                  <a:schemeClr val="tx1"/>
                </a:solidFill>
                <a:cs typeface="Segoe UI"/>
              </a:rPr>
              <a:t>Effective knowledge management is a key enabler of good regulatory practice underpinned by strong and accurate intelligence. Creating a better practice knowledge management structure, for example in SharePoint, enables more efficient collaboration and sharing of information across teams, and lays the groundwork for future development of a single view of regulated entities through digitisation. </a:t>
            </a:r>
          </a:p>
        </p:txBody>
      </p:sp>
      <p:sp>
        <p:nvSpPr>
          <p:cNvPr id="3" name="Title 2">
            <a:extLst>
              <a:ext uri="{FF2B5EF4-FFF2-40B4-BE49-F238E27FC236}">
                <a16:creationId xmlns:a16="http://schemas.microsoft.com/office/drawing/2014/main" id="{80CE8119-45A9-B497-B743-3798888405B8}"/>
              </a:ext>
            </a:extLst>
          </p:cNvPr>
          <p:cNvSpPr txBox="1">
            <a:spLocks/>
          </p:cNvSpPr>
          <p:nvPr/>
        </p:nvSpPr>
        <p:spPr>
          <a:xfrm>
            <a:off x="539999" y="43158"/>
            <a:ext cx="5996531" cy="847141"/>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b="1" dirty="0"/>
              <a:t>Overview</a:t>
            </a:r>
            <a:r>
              <a:rPr lang="en-AU" dirty="0"/>
              <a:t> | Improved information sharing and system structure can enable better collaboration across teams</a:t>
            </a:r>
          </a:p>
        </p:txBody>
      </p:sp>
      <p:sp>
        <p:nvSpPr>
          <p:cNvPr id="15" name="TextBox 14">
            <a:extLst>
              <a:ext uri="{FF2B5EF4-FFF2-40B4-BE49-F238E27FC236}">
                <a16:creationId xmlns:a16="http://schemas.microsoft.com/office/drawing/2014/main" id="{5A26544D-C393-6411-1B4F-4C4D5606DA2E}"/>
              </a:ext>
            </a:extLst>
          </p:cNvPr>
          <p:cNvSpPr txBox="1">
            <a:spLocks/>
          </p:cNvSpPr>
          <p:nvPr/>
        </p:nvSpPr>
        <p:spPr>
          <a:xfrm>
            <a:off x="540000" y="2468193"/>
            <a:ext cx="6085244" cy="1918852"/>
          </a:xfrm>
          <a:prstGeom prst="rect">
            <a:avLst/>
          </a:prstGeom>
          <a:noFill/>
        </p:spPr>
        <p:txBody>
          <a:bodyPr wrap="square" lIns="0" rIns="72000" anchor="t" anchorCtr="0">
            <a:noAutofit/>
          </a:bodyPr>
          <a:lstStyle/>
          <a:p>
            <a:pPr marL="0" marR="0" lvl="0" indent="0" algn="l" defTabSz="914349" rtl="0" eaLnBrk="1" fontAlgn="auto" latinLnBrk="0" hangingPunct="1">
              <a:lnSpc>
                <a:spcPct val="100000"/>
              </a:lnSpc>
              <a:spcBef>
                <a:spcPts val="500"/>
              </a:spcBef>
              <a:spcAft>
                <a:spcPts val="0"/>
              </a:spcAft>
              <a:buClrTx/>
              <a:buSzTx/>
              <a:buFontTx/>
              <a:buNone/>
              <a:tabLst/>
              <a:defRPr/>
            </a:pPr>
            <a:r>
              <a:rPr kumimoji="0" lang="en-AU" sz="1050" b="1" i="0" u="none" strike="noStrike" kern="1200" cap="none" spc="0" normalizeH="0" baseline="0" noProof="0">
                <a:ln>
                  <a:noFill/>
                </a:ln>
                <a:effectLst/>
                <a:uLnTx/>
                <a:uFillTx/>
                <a:latin typeface="VIC SemiBold" panose="00000700000000000000"/>
              </a:rPr>
              <a:t>What should you consider to identify opportunities for ‘better practice’ knowledge management?</a:t>
            </a:r>
          </a:p>
          <a:p>
            <a:pPr marL="171450" marR="0" lvl="0" indent="-171450" algn="l" defTabSz="914349"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AU" sz="1050" i="0" u="none" strike="noStrike" kern="1200" cap="none" spc="0" normalizeH="0" baseline="0" noProof="0">
                <a:ln>
                  <a:noFill/>
                </a:ln>
                <a:effectLst/>
                <a:uLnTx/>
                <a:uFillTx/>
                <a:latin typeface="VIC" panose="00000500000000000000" pitchFamily="50" charset="0"/>
              </a:rPr>
              <a:t>Examine the existing file structures and naming conventions to understand ease of access and document retrieval. </a:t>
            </a:r>
          </a:p>
          <a:p>
            <a:pPr marL="171450" marR="0" lvl="0" indent="-171450" algn="l" defTabSz="914349" rtl="0" eaLnBrk="1" fontAlgn="auto" latinLnBrk="0" hangingPunct="1">
              <a:lnSpc>
                <a:spcPct val="100000"/>
              </a:lnSpc>
              <a:spcBef>
                <a:spcPts val="500"/>
              </a:spcBef>
              <a:spcAft>
                <a:spcPts val="0"/>
              </a:spcAft>
              <a:buClrTx/>
              <a:buSzTx/>
              <a:buFont typeface="Arial" panose="020B0604020202020204" pitchFamily="34" charset="0"/>
              <a:buChar char="•"/>
              <a:tabLst/>
              <a:defRPr/>
            </a:pPr>
            <a:r>
              <a:rPr lang="en-AU" sz="1050">
                <a:latin typeface="VIC" panose="00000500000000000000" pitchFamily="50" charset="0"/>
              </a:rPr>
              <a:t>Review current practices for file sharing, version control and collaborative editing to identify areas to streamline processes and strengthen security. </a:t>
            </a:r>
          </a:p>
          <a:p>
            <a:pPr marL="171450" marR="0" lvl="0" indent="-171450" algn="l" defTabSz="914349"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AU" sz="1050" i="0" u="none" strike="noStrike" kern="1200" cap="none" spc="0" normalizeH="0" baseline="0" noProof="0">
                <a:ln>
                  <a:noFill/>
                </a:ln>
                <a:effectLst/>
                <a:uLnTx/>
                <a:uFillTx/>
                <a:latin typeface="VIC" panose="00000500000000000000" pitchFamily="50" charset="0"/>
              </a:rPr>
              <a:t>Assess systems across the organisation to identify potential for enhanced integration. </a:t>
            </a:r>
          </a:p>
          <a:p>
            <a:pPr marL="171450" marR="0" lvl="0" indent="-171450" algn="l" defTabSz="914349"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AU" sz="1050" i="0" u="none" strike="noStrike" kern="1200" cap="none" spc="0" normalizeH="0" baseline="0" noProof="0">
                <a:ln>
                  <a:noFill/>
                </a:ln>
                <a:effectLst/>
                <a:uLnTx/>
                <a:uFillTx/>
                <a:latin typeface="VIC" panose="00000500000000000000" pitchFamily="50" charset="0"/>
              </a:rPr>
              <a:t>Analyse pain points experienced by staff related to systems and processes.</a:t>
            </a:r>
          </a:p>
          <a:p>
            <a:pPr marL="171450" marR="0" lvl="0" indent="-171450" algn="l" defTabSz="914349"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kumimoji="0" lang="en-AU" sz="1050" i="0" u="none" strike="noStrike" kern="1200" cap="none" spc="0" normalizeH="0" baseline="0" noProof="0">
              <a:ln>
                <a:noFill/>
              </a:ln>
              <a:effectLst/>
              <a:uLnTx/>
              <a:uFillTx/>
              <a:latin typeface="VIC" panose="00000500000000000000" pitchFamily="50" charset="0"/>
            </a:endParaRPr>
          </a:p>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050" b="1" i="0" u="none" strike="noStrike" kern="1200" cap="none" spc="0" normalizeH="0" baseline="0" noProof="0">
              <a:ln>
                <a:noFill/>
              </a:ln>
              <a:effectLst/>
              <a:uLnTx/>
              <a:uFillTx/>
              <a:latin typeface="VIC" panose="00000500000000000000" pitchFamily="50" charset="0"/>
            </a:endParaRPr>
          </a:p>
        </p:txBody>
      </p:sp>
      <p:grpSp>
        <p:nvGrpSpPr>
          <p:cNvPr id="2" name="Group 1">
            <a:extLst>
              <a:ext uri="{FF2B5EF4-FFF2-40B4-BE49-F238E27FC236}">
                <a16:creationId xmlns:a16="http://schemas.microsoft.com/office/drawing/2014/main" id="{783E8177-4E17-C2F0-B7A6-5F4AAF0C5FFD}"/>
              </a:ext>
            </a:extLst>
          </p:cNvPr>
          <p:cNvGrpSpPr/>
          <p:nvPr/>
        </p:nvGrpSpPr>
        <p:grpSpPr>
          <a:xfrm>
            <a:off x="530745" y="4191781"/>
            <a:ext cx="5896517" cy="1944002"/>
            <a:chOff x="540002" y="4006689"/>
            <a:chExt cx="5896517" cy="1999665"/>
          </a:xfrm>
        </p:grpSpPr>
        <p:grpSp>
          <p:nvGrpSpPr>
            <p:cNvPr id="16" name="Group 15">
              <a:extLst>
                <a:ext uri="{FF2B5EF4-FFF2-40B4-BE49-F238E27FC236}">
                  <a16:creationId xmlns:a16="http://schemas.microsoft.com/office/drawing/2014/main" id="{5C716E65-6538-869C-BA31-11C7C000A0EB}"/>
                </a:ext>
              </a:extLst>
            </p:cNvPr>
            <p:cNvGrpSpPr/>
            <p:nvPr/>
          </p:nvGrpSpPr>
          <p:grpSpPr>
            <a:xfrm>
              <a:off x="540002" y="4006689"/>
              <a:ext cx="3036372" cy="1999663"/>
              <a:chOff x="-3622666" y="4116140"/>
              <a:chExt cx="4071230" cy="1999663"/>
            </a:xfrm>
          </p:grpSpPr>
          <p:sp>
            <p:nvSpPr>
              <p:cNvPr id="5" name="Text Placeholder 7">
                <a:extLst>
                  <a:ext uri="{FF2B5EF4-FFF2-40B4-BE49-F238E27FC236}">
                    <a16:creationId xmlns:a16="http://schemas.microsoft.com/office/drawing/2014/main" id="{414FB662-191A-6AE4-B396-41A4E291EEB6}"/>
                  </a:ext>
                </a:extLst>
              </p:cNvPr>
              <p:cNvSpPr txBox="1">
                <a:spLocks/>
              </p:cNvSpPr>
              <p:nvPr/>
            </p:nvSpPr>
            <p:spPr>
              <a:xfrm>
                <a:off x="-3622666" y="4116140"/>
                <a:ext cx="3854029" cy="1999663"/>
              </a:xfrm>
              <a:prstGeom prst="rect">
                <a:avLst/>
              </a:prstGeom>
              <a:solidFill>
                <a:schemeClr val="bg1"/>
              </a:solidFill>
              <a:ln w="19050">
                <a:noFill/>
              </a:ln>
            </p:spPr>
            <p:txBody>
              <a:bodyPr wrap="square" lIns="180000" tIns="396000" rIns="180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600"/>
                  </a:spcAft>
                  <a:buFont typeface="Wingdings" panose="05000000000000000000" pitchFamily="2" charset="2"/>
                  <a:buChar char="ü"/>
                </a:pPr>
                <a:r>
                  <a:rPr lang="en-AU" sz="1000" dirty="0">
                    <a:solidFill>
                      <a:schemeClr val="tx2"/>
                    </a:solidFill>
                    <a:latin typeface="+mj-lt"/>
                    <a:cs typeface="Segoe UI" panose="020B0502040204020203" pitchFamily="34" charset="0"/>
                  </a:rPr>
                  <a:t>Enable seamless collaboration between your employees and teams. </a:t>
                </a:r>
              </a:p>
              <a:p>
                <a:pPr marL="171450" indent="-171450">
                  <a:spcBef>
                    <a:spcPts val="0"/>
                  </a:spcBef>
                  <a:spcAft>
                    <a:spcPts val="600"/>
                  </a:spcAft>
                  <a:buFont typeface="Wingdings" panose="05000000000000000000" pitchFamily="2" charset="2"/>
                  <a:buChar char="ü"/>
                </a:pPr>
                <a:r>
                  <a:rPr lang="en-AU" sz="1000" dirty="0">
                    <a:solidFill>
                      <a:schemeClr val="tx2"/>
                    </a:solidFill>
                    <a:latin typeface="+mj-lt"/>
                    <a:cs typeface="Segoe UI" panose="020B0502040204020203" pitchFamily="34" charset="0"/>
                  </a:rPr>
                  <a:t>Create more accessible and navigable file structures that make it easier to retrieve information. </a:t>
                </a:r>
              </a:p>
              <a:p>
                <a:pPr marL="171450" indent="-171450">
                  <a:spcBef>
                    <a:spcPts val="0"/>
                  </a:spcBef>
                  <a:spcAft>
                    <a:spcPts val="600"/>
                  </a:spcAft>
                  <a:buFont typeface="Wingdings" panose="05000000000000000000" pitchFamily="2" charset="2"/>
                  <a:buChar char="ü"/>
                </a:pPr>
                <a:r>
                  <a:rPr lang="en-AU" sz="1000" dirty="0">
                    <a:solidFill>
                      <a:schemeClr val="tx2"/>
                    </a:solidFill>
                    <a:latin typeface="+mj-lt"/>
                    <a:cs typeface="Segoe UI" panose="020B0502040204020203" pitchFamily="34" charset="0"/>
                  </a:rPr>
                  <a:t>Establish more robust knowledge management and information sharing  practices across your organisation. </a:t>
                </a:r>
              </a:p>
            </p:txBody>
          </p:sp>
          <p:sp>
            <p:nvSpPr>
              <p:cNvPr id="13" name="Freeform: Shape 12">
                <a:extLst>
                  <a:ext uri="{FF2B5EF4-FFF2-40B4-BE49-F238E27FC236}">
                    <a16:creationId xmlns:a16="http://schemas.microsoft.com/office/drawing/2014/main" id="{0B97B9F7-FF65-85B1-EEB7-8A841D8AA593}"/>
                  </a:ext>
                </a:extLst>
              </p:cNvPr>
              <p:cNvSpPr/>
              <p:nvPr/>
            </p:nvSpPr>
            <p:spPr>
              <a:xfrm>
                <a:off x="-3403436" y="4219268"/>
                <a:ext cx="3852000"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5"/>
              </a:solidFill>
              <a:ln w="73258" cap="flat">
                <a:noFill/>
                <a:prstDash val="solid"/>
                <a:miter/>
              </a:ln>
            </p:spPr>
            <p:txBody>
              <a:bodyPr lIns="36000" rtlCol="0" anchor="ctr"/>
              <a:lstStyle/>
              <a:p>
                <a:pPr lvl="0">
                  <a:spcAft>
                    <a:spcPts val="600"/>
                  </a:spcAft>
                </a:pPr>
                <a:r>
                  <a:rPr lang="en-US" sz="1100" b="1">
                    <a:solidFill>
                      <a:schemeClr val="bg1"/>
                    </a:solidFill>
                    <a:latin typeface="VIC SemiBold" panose="00000700000000000000" pitchFamily="50" charset="0"/>
                  </a:rPr>
                  <a:t>BENEFITS FOR YOU </a:t>
                </a:r>
              </a:p>
            </p:txBody>
          </p:sp>
        </p:grpSp>
        <p:grpSp>
          <p:nvGrpSpPr>
            <p:cNvPr id="23" name="Group 22">
              <a:extLst>
                <a:ext uri="{FF2B5EF4-FFF2-40B4-BE49-F238E27FC236}">
                  <a16:creationId xmlns:a16="http://schemas.microsoft.com/office/drawing/2014/main" id="{ED3C8EF0-03D9-EB2F-A0BE-45CD4AFB7BE4}"/>
                </a:ext>
              </a:extLst>
            </p:cNvPr>
            <p:cNvGrpSpPr/>
            <p:nvPr/>
          </p:nvGrpSpPr>
          <p:grpSpPr>
            <a:xfrm>
              <a:off x="3693319" y="4006691"/>
              <a:ext cx="2743200" cy="1999663"/>
              <a:chOff x="-3622666" y="4116143"/>
              <a:chExt cx="4071230" cy="1999663"/>
            </a:xfrm>
          </p:grpSpPr>
          <p:sp>
            <p:nvSpPr>
              <p:cNvPr id="24" name="Text Placeholder 7">
                <a:extLst>
                  <a:ext uri="{FF2B5EF4-FFF2-40B4-BE49-F238E27FC236}">
                    <a16:creationId xmlns:a16="http://schemas.microsoft.com/office/drawing/2014/main" id="{A68786C5-0F08-67B4-EF2E-B2FD83DED675}"/>
                  </a:ext>
                </a:extLst>
              </p:cNvPr>
              <p:cNvSpPr txBox="1">
                <a:spLocks/>
              </p:cNvSpPr>
              <p:nvPr/>
            </p:nvSpPr>
            <p:spPr>
              <a:xfrm>
                <a:off x="-3622666" y="4116143"/>
                <a:ext cx="3854029" cy="1999663"/>
              </a:xfrm>
              <a:prstGeom prst="rect">
                <a:avLst/>
              </a:prstGeom>
              <a:solidFill>
                <a:schemeClr val="bg1"/>
              </a:solidFill>
              <a:ln w="19050">
                <a:noFill/>
              </a:ln>
            </p:spPr>
            <p:txBody>
              <a:bodyPr wrap="square" lIns="180000" tIns="396000" rIns="180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600"/>
                  </a:spcAft>
                  <a:buFont typeface="Wingdings" panose="05000000000000000000" pitchFamily="2" charset="2"/>
                  <a:buChar char="ü"/>
                </a:pPr>
                <a:r>
                  <a:rPr lang="en-AU" sz="1000" dirty="0">
                    <a:solidFill>
                      <a:schemeClr val="tx2"/>
                    </a:solidFill>
                    <a:latin typeface="+mj-lt"/>
                    <a:cs typeface="Segoe UI" panose="020B0502040204020203" pitchFamily="34" charset="0"/>
                  </a:rPr>
                  <a:t>Inform the design of a future state knowledge management and information sharing architecture.</a:t>
                </a:r>
              </a:p>
              <a:p>
                <a:pPr marL="171450" indent="-171450">
                  <a:spcBef>
                    <a:spcPts val="0"/>
                  </a:spcBef>
                  <a:spcAft>
                    <a:spcPts val="600"/>
                  </a:spcAft>
                  <a:buFont typeface="Wingdings" panose="05000000000000000000" pitchFamily="2" charset="2"/>
                  <a:buChar char="ü"/>
                </a:pPr>
                <a:r>
                  <a:rPr lang="en-AU" sz="1000" dirty="0">
                    <a:solidFill>
                      <a:schemeClr val="tx2"/>
                    </a:solidFill>
                    <a:latin typeface="+mj-lt"/>
                    <a:cs typeface="Segoe UI" panose="020B0502040204020203" pitchFamily="34" charset="0"/>
                  </a:rPr>
                  <a:t>Assess interim options to improve the existing knowledge management and information sharing architecture. </a:t>
                </a:r>
              </a:p>
            </p:txBody>
          </p:sp>
          <p:sp>
            <p:nvSpPr>
              <p:cNvPr id="25" name="Freeform: Shape 24">
                <a:extLst>
                  <a:ext uri="{FF2B5EF4-FFF2-40B4-BE49-F238E27FC236}">
                    <a16:creationId xmlns:a16="http://schemas.microsoft.com/office/drawing/2014/main" id="{7468EDA2-3039-B298-282F-E1688E17F2A3}"/>
                  </a:ext>
                </a:extLst>
              </p:cNvPr>
              <p:cNvSpPr/>
              <p:nvPr/>
            </p:nvSpPr>
            <p:spPr>
              <a:xfrm>
                <a:off x="-3403437" y="4219268"/>
                <a:ext cx="3852001" cy="215993"/>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3"/>
              </a:solidFill>
              <a:ln w="73258" cap="flat">
                <a:noFill/>
                <a:prstDash val="solid"/>
                <a:miter/>
              </a:ln>
            </p:spPr>
            <p:txBody>
              <a:bodyPr lIns="36000" rtlCol="0" anchor="ctr"/>
              <a:lstStyle/>
              <a:p>
                <a:pPr lvl="0">
                  <a:spcAft>
                    <a:spcPts val="600"/>
                  </a:spcAft>
                </a:pPr>
                <a:r>
                  <a:rPr lang="en-US" sz="1100" b="1">
                    <a:solidFill>
                      <a:schemeClr val="bg1"/>
                    </a:solidFill>
                    <a:latin typeface="VIC SemiBold" panose="00000700000000000000" pitchFamily="50" charset="0"/>
                  </a:rPr>
                  <a:t>USE THIS DOCUMENT TO:</a:t>
                </a:r>
              </a:p>
            </p:txBody>
          </p:sp>
        </p:grpSp>
      </p:grpSp>
      <p:sp>
        <p:nvSpPr>
          <p:cNvPr id="4" name="Text Placeholder 4">
            <a:extLst>
              <a:ext uri="{FF2B5EF4-FFF2-40B4-BE49-F238E27FC236}">
                <a16:creationId xmlns:a16="http://schemas.microsoft.com/office/drawing/2014/main" id="{5BE56102-969D-60C5-E08D-D27432E3F129}"/>
              </a:ext>
            </a:extLst>
          </p:cNvPr>
          <p:cNvSpPr txBox="1">
            <a:spLocks/>
          </p:cNvSpPr>
          <p:nvPr/>
        </p:nvSpPr>
        <p:spPr>
          <a:xfrm>
            <a:off x="7094520" y="1220344"/>
            <a:ext cx="2468580" cy="2698514"/>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b="1">
                <a:solidFill>
                  <a:schemeClr val="bg1"/>
                </a:solidFill>
              </a:rPr>
              <a:t>This tool provides:</a:t>
            </a:r>
          </a:p>
          <a:p>
            <a:pPr marL="228600" indent="-228600">
              <a:buFont typeface="+mj-lt"/>
              <a:buAutoNum type="arabicPeriod"/>
            </a:pPr>
            <a:r>
              <a:rPr lang="en-AU">
                <a:solidFill>
                  <a:schemeClr val="bg1"/>
                </a:solidFill>
              </a:rPr>
              <a:t>Guidance to review your current information system structure. </a:t>
            </a:r>
          </a:p>
          <a:p>
            <a:pPr marL="228600" indent="-228600">
              <a:buFont typeface="+mj-lt"/>
              <a:buAutoNum type="arabicPeriod"/>
            </a:pPr>
            <a:r>
              <a:rPr lang="en-AU">
                <a:solidFill>
                  <a:schemeClr val="bg1"/>
                </a:solidFill>
              </a:rPr>
              <a:t>Considerations in developing a future state structure.</a:t>
            </a:r>
          </a:p>
          <a:p>
            <a:pPr marL="228600" indent="-228600">
              <a:buFont typeface="+mj-lt"/>
              <a:buAutoNum type="arabicPeriod"/>
            </a:pPr>
            <a:r>
              <a:rPr lang="en-AU">
                <a:solidFill>
                  <a:schemeClr val="bg1"/>
                </a:solidFill>
              </a:rPr>
              <a:t>Interim actions to immediately improve information sharing. </a:t>
            </a:r>
          </a:p>
          <a:p>
            <a:pPr marL="228600" indent="-228600">
              <a:buFont typeface="+mj-lt"/>
              <a:buAutoNum type="arabicPeriod"/>
            </a:pPr>
            <a:endParaRPr lang="en-AU">
              <a:solidFill>
                <a:schemeClr val="bg1"/>
              </a:solidFill>
            </a:endParaRPr>
          </a:p>
          <a:p>
            <a:pPr marL="228600" indent="-228600">
              <a:buFont typeface="+mj-lt"/>
              <a:buAutoNum type="arabicPeriod"/>
            </a:pPr>
            <a:endParaRPr lang="en-AU">
              <a:solidFill>
                <a:schemeClr val="bg1"/>
              </a:solidFill>
            </a:endParaRPr>
          </a:p>
        </p:txBody>
      </p:sp>
    </p:spTree>
    <p:extLst>
      <p:ext uri="{BB962C8B-B14F-4D97-AF65-F5344CB8AC3E}">
        <p14:creationId xmlns:p14="http://schemas.microsoft.com/office/powerpoint/2010/main" val="28870986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EE8F0D-271D-A3F4-ABA4-55804FF8C5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DCEE8F0D-271D-A3F4-ABA4-55804FF8C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0A675F7-CAF4-83EC-53BD-56B259073B05}"/>
              </a:ext>
            </a:extLst>
          </p:cNvPr>
          <p:cNvSpPr>
            <a:spLocks noGrp="1"/>
          </p:cNvSpPr>
          <p:nvPr>
            <p:ph type="title"/>
          </p:nvPr>
        </p:nvSpPr>
        <p:spPr>
          <a:xfrm>
            <a:off x="539997" y="553634"/>
            <a:ext cx="8820000" cy="341618"/>
          </a:xfrm>
        </p:spPr>
        <p:txBody>
          <a:bodyPr vert="horz"/>
          <a:lstStyle/>
          <a:p>
            <a:r>
              <a:rPr lang="en-AU"/>
              <a:t>Your future structure should be informed by a systematic assessment of your data ecosystem</a:t>
            </a:r>
          </a:p>
        </p:txBody>
      </p:sp>
      <p:sp>
        <p:nvSpPr>
          <p:cNvPr id="6" name="Content Placeholder 1">
            <a:extLst>
              <a:ext uri="{FF2B5EF4-FFF2-40B4-BE49-F238E27FC236}">
                <a16:creationId xmlns:a16="http://schemas.microsoft.com/office/drawing/2014/main" id="{E1296918-AD6D-C9E2-9E46-991182C85F7C}"/>
              </a:ext>
            </a:extLst>
          </p:cNvPr>
          <p:cNvSpPr txBox="1">
            <a:spLocks/>
          </p:cNvSpPr>
          <p:nvPr/>
        </p:nvSpPr>
        <p:spPr>
          <a:xfrm>
            <a:off x="539997" y="1277785"/>
            <a:ext cx="8820000" cy="394951"/>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400"/>
              </a:spcAft>
              <a:buClr>
                <a:schemeClr val="tx2"/>
              </a:buClr>
              <a:buFont typeface="Arial" panose="020B0604020202020204" pitchFamily="34" charset="0"/>
              <a:buNone/>
            </a:pPr>
            <a:r>
              <a:rPr lang="en-AU" dirty="0">
                <a:latin typeface="VIC SemiBold"/>
                <a:cs typeface="Segoe UI"/>
              </a:rPr>
              <a:t>To develop a cohesive and future-proof information management approach, we recommend you conduct a systematic assessment of your data ecosystem, starting from your relevant day-to-day processes through to your intended data architecture, data governance – including privacy and security – and with future supporting systems in mind. </a:t>
            </a:r>
          </a:p>
        </p:txBody>
      </p:sp>
      <p:grpSp>
        <p:nvGrpSpPr>
          <p:cNvPr id="2" name="Group 1">
            <a:extLst>
              <a:ext uri="{FF2B5EF4-FFF2-40B4-BE49-F238E27FC236}">
                <a16:creationId xmlns:a16="http://schemas.microsoft.com/office/drawing/2014/main" id="{6D610A53-B79B-B78D-BBF5-5ABD3C326D67}"/>
              </a:ext>
            </a:extLst>
          </p:cNvPr>
          <p:cNvGrpSpPr/>
          <p:nvPr/>
        </p:nvGrpSpPr>
        <p:grpSpPr>
          <a:xfrm>
            <a:off x="538188" y="2183615"/>
            <a:ext cx="8871128" cy="3969679"/>
            <a:chOff x="538188" y="2183615"/>
            <a:chExt cx="8871128" cy="3969679"/>
          </a:xfrm>
        </p:grpSpPr>
        <p:sp>
          <p:nvSpPr>
            <p:cNvPr id="11" name="Freeform 20">
              <a:extLst>
                <a:ext uri="{FF2B5EF4-FFF2-40B4-BE49-F238E27FC236}">
                  <a16:creationId xmlns:a16="http://schemas.microsoft.com/office/drawing/2014/main" id="{3A4F6423-A6D9-DE9E-124A-D0D2D557C843}"/>
                </a:ext>
              </a:extLst>
            </p:cNvPr>
            <p:cNvSpPr>
              <a:spLocks/>
            </p:cNvSpPr>
            <p:nvPr/>
          </p:nvSpPr>
          <p:spPr bwMode="auto">
            <a:xfrm rot="10800000" flipV="1">
              <a:off x="4069112" y="2637152"/>
              <a:ext cx="2086311" cy="1291743"/>
            </a:xfrm>
            <a:custGeom>
              <a:avLst/>
              <a:gdLst>
                <a:gd name="T0" fmla="*/ 2 w 905"/>
                <a:gd name="T1" fmla="*/ 713 h 717"/>
                <a:gd name="T2" fmla="*/ 15 w 905"/>
                <a:gd name="T3" fmla="*/ 665 h 717"/>
                <a:gd name="T4" fmla="*/ 46 w 905"/>
                <a:gd name="T5" fmla="*/ 571 h 717"/>
                <a:gd name="T6" fmla="*/ 91 w 905"/>
                <a:gd name="T7" fmla="*/ 435 h 717"/>
                <a:gd name="T8" fmla="*/ 92 w 905"/>
                <a:gd name="T9" fmla="*/ 433 h 717"/>
                <a:gd name="T10" fmla="*/ 813 w 905"/>
                <a:gd name="T11" fmla="*/ 0 h 717"/>
                <a:gd name="T12" fmla="*/ 905 w 905"/>
                <a:gd name="T13" fmla="*/ 278 h 717"/>
                <a:gd name="T14" fmla="*/ 5 w 905"/>
                <a:gd name="T15" fmla="*/ 717 h 717"/>
                <a:gd name="T16" fmla="*/ 2 w 905"/>
                <a:gd name="T17" fmla="*/ 713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5" h="717">
                  <a:moveTo>
                    <a:pt x="2" y="713"/>
                  </a:moveTo>
                  <a:cubicBezTo>
                    <a:pt x="0" y="710"/>
                    <a:pt x="0" y="710"/>
                    <a:pt x="15" y="665"/>
                  </a:cubicBezTo>
                  <a:cubicBezTo>
                    <a:pt x="24" y="639"/>
                    <a:pt x="35" y="605"/>
                    <a:pt x="46" y="571"/>
                  </a:cubicBezTo>
                  <a:cubicBezTo>
                    <a:pt x="68" y="503"/>
                    <a:pt x="91" y="435"/>
                    <a:pt x="91" y="435"/>
                  </a:cubicBezTo>
                  <a:cubicBezTo>
                    <a:pt x="92" y="433"/>
                    <a:pt x="92" y="433"/>
                    <a:pt x="92" y="433"/>
                  </a:cubicBezTo>
                  <a:cubicBezTo>
                    <a:pt x="813" y="0"/>
                    <a:pt x="813" y="0"/>
                    <a:pt x="813" y="0"/>
                  </a:cubicBezTo>
                  <a:cubicBezTo>
                    <a:pt x="905" y="278"/>
                    <a:pt x="905" y="278"/>
                    <a:pt x="905" y="278"/>
                  </a:cubicBezTo>
                  <a:cubicBezTo>
                    <a:pt x="5" y="717"/>
                    <a:pt x="5" y="717"/>
                    <a:pt x="5" y="717"/>
                  </a:cubicBezTo>
                  <a:lnTo>
                    <a:pt x="2" y="713"/>
                  </a:lnTo>
                  <a:close/>
                </a:path>
              </a:pathLst>
            </a:custGeom>
            <a:solidFill>
              <a:schemeClr val="bg1">
                <a:lumMod val="85000"/>
              </a:schemeClr>
            </a:solidFill>
            <a:ln w="15875">
              <a:solidFill>
                <a:schemeClr val="bg1">
                  <a:lumMod val="85000"/>
                </a:schemeClr>
              </a:solidFill>
            </a:ln>
          </p:spPr>
          <p:txBody>
            <a:bodyPr vert="horz" wrap="square" lIns="74276" tIns="37138" rIns="74276" bIns="37138" numCol="1" anchor="t" anchorCtr="0" compatLnSpc="1">
              <a:prstTxWarp prst="textNoShape">
                <a:avLst/>
              </a:prstTxWarp>
            </a:bodyPr>
            <a:lstStyle/>
            <a:p>
              <a:endParaRPr lang="en-AU" sz="1462"/>
            </a:p>
          </p:txBody>
        </p:sp>
        <p:sp>
          <p:nvSpPr>
            <p:cNvPr id="12" name="Freeform 22">
              <a:extLst>
                <a:ext uri="{FF2B5EF4-FFF2-40B4-BE49-F238E27FC236}">
                  <a16:creationId xmlns:a16="http://schemas.microsoft.com/office/drawing/2014/main" id="{FB5D171E-152C-37C5-B9B6-F9095392E681}"/>
                </a:ext>
              </a:extLst>
            </p:cNvPr>
            <p:cNvSpPr>
              <a:spLocks/>
            </p:cNvSpPr>
            <p:nvPr/>
          </p:nvSpPr>
          <p:spPr bwMode="auto">
            <a:xfrm rot="10800000" flipV="1">
              <a:off x="3748968" y="3438789"/>
              <a:ext cx="2730992" cy="1270961"/>
            </a:xfrm>
            <a:custGeom>
              <a:avLst/>
              <a:gdLst>
                <a:gd name="T0" fmla="*/ 4 w 1184"/>
                <a:gd name="T1" fmla="*/ 721 h 721"/>
                <a:gd name="T2" fmla="*/ 3 w 1184"/>
                <a:gd name="T3" fmla="*/ 718 h 721"/>
                <a:gd name="T4" fmla="*/ 43 w 1184"/>
                <a:gd name="T5" fmla="*/ 576 h 721"/>
                <a:gd name="T6" fmla="*/ 85 w 1184"/>
                <a:gd name="T7" fmla="*/ 440 h 721"/>
                <a:gd name="T8" fmla="*/ 85 w 1184"/>
                <a:gd name="T9" fmla="*/ 438 h 721"/>
                <a:gd name="T10" fmla="*/ 1090 w 1184"/>
                <a:gd name="T11" fmla="*/ 0 h 721"/>
                <a:gd name="T12" fmla="*/ 1184 w 1184"/>
                <a:gd name="T13" fmla="*/ 280 h 721"/>
                <a:gd name="T14" fmla="*/ 8 w 1184"/>
                <a:gd name="T15" fmla="*/ 721 h 721"/>
                <a:gd name="T16" fmla="*/ 4 w 1184"/>
                <a:gd name="T17" fmla="*/ 72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4" h="721">
                  <a:moveTo>
                    <a:pt x="4" y="721"/>
                  </a:moveTo>
                  <a:cubicBezTo>
                    <a:pt x="3" y="718"/>
                    <a:pt x="3" y="718"/>
                    <a:pt x="3" y="718"/>
                  </a:cubicBezTo>
                  <a:cubicBezTo>
                    <a:pt x="0" y="715"/>
                    <a:pt x="0" y="715"/>
                    <a:pt x="43" y="576"/>
                  </a:cubicBezTo>
                  <a:cubicBezTo>
                    <a:pt x="64" y="508"/>
                    <a:pt x="85" y="440"/>
                    <a:pt x="85" y="440"/>
                  </a:cubicBezTo>
                  <a:cubicBezTo>
                    <a:pt x="85" y="438"/>
                    <a:pt x="85" y="438"/>
                    <a:pt x="85" y="438"/>
                  </a:cubicBezTo>
                  <a:cubicBezTo>
                    <a:pt x="1090" y="0"/>
                    <a:pt x="1090" y="0"/>
                    <a:pt x="1090" y="0"/>
                  </a:cubicBezTo>
                  <a:cubicBezTo>
                    <a:pt x="1184" y="280"/>
                    <a:pt x="1184" y="280"/>
                    <a:pt x="1184" y="280"/>
                  </a:cubicBezTo>
                  <a:cubicBezTo>
                    <a:pt x="8" y="721"/>
                    <a:pt x="8" y="721"/>
                    <a:pt x="8" y="721"/>
                  </a:cubicBezTo>
                  <a:lnTo>
                    <a:pt x="4" y="721"/>
                  </a:lnTo>
                  <a:close/>
                </a:path>
              </a:pathLst>
            </a:custGeom>
            <a:solidFill>
              <a:schemeClr val="bg1">
                <a:lumMod val="85000"/>
              </a:schemeClr>
            </a:solidFill>
            <a:ln w="15875">
              <a:solidFill>
                <a:schemeClr val="bg1">
                  <a:lumMod val="85000"/>
                </a:schemeClr>
              </a:solidFill>
            </a:ln>
          </p:spPr>
          <p:txBody>
            <a:bodyPr vert="horz" wrap="square" lIns="74276" tIns="37138" rIns="74276" bIns="37138" numCol="1" anchor="t" anchorCtr="0" compatLnSpc="1">
              <a:prstTxWarp prst="textNoShape">
                <a:avLst/>
              </a:prstTxWarp>
            </a:bodyPr>
            <a:lstStyle/>
            <a:p>
              <a:endParaRPr lang="en-AU" sz="1462"/>
            </a:p>
          </p:txBody>
        </p:sp>
        <p:sp>
          <p:nvSpPr>
            <p:cNvPr id="13" name="Freeform 24">
              <a:extLst>
                <a:ext uri="{FF2B5EF4-FFF2-40B4-BE49-F238E27FC236}">
                  <a16:creationId xmlns:a16="http://schemas.microsoft.com/office/drawing/2014/main" id="{20EC2ED1-1B6D-35EF-B9CE-C2846F6BAC49}"/>
                </a:ext>
              </a:extLst>
            </p:cNvPr>
            <p:cNvSpPr>
              <a:spLocks/>
            </p:cNvSpPr>
            <p:nvPr/>
          </p:nvSpPr>
          <p:spPr bwMode="auto">
            <a:xfrm rot="10800000" flipV="1">
              <a:off x="3413575" y="4208511"/>
              <a:ext cx="3393175" cy="1296601"/>
            </a:xfrm>
            <a:custGeom>
              <a:avLst/>
              <a:gdLst>
                <a:gd name="T0" fmla="*/ 4 w 1464"/>
                <a:gd name="T1" fmla="*/ 707 h 710"/>
                <a:gd name="T2" fmla="*/ 45 w 1464"/>
                <a:gd name="T3" fmla="*/ 571 h 710"/>
                <a:gd name="T4" fmla="*/ 89 w 1464"/>
                <a:gd name="T5" fmla="*/ 442 h 710"/>
                <a:gd name="T6" fmla="*/ 90 w 1464"/>
                <a:gd name="T7" fmla="*/ 440 h 710"/>
                <a:gd name="T8" fmla="*/ 1373 w 1464"/>
                <a:gd name="T9" fmla="*/ 0 h 710"/>
                <a:gd name="T10" fmla="*/ 1464 w 1464"/>
                <a:gd name="T11" fmla="*/ 276 h 710"/>
                <a:gd name="T12" fmla="*/ 6 w 1464"/>
                <a:gd name="T13" fmla="*/ 710 h 710"/>
                <a:gd name="T14" fmla="*/ 4 w 1464"/>
                <a:gd name="T15" fmla="*/ 707 h 710"/>
                <a:gd name="connsiteX0" fmla="*/ 3 w 10031"/>
                <a:gd name="connsiteY0" fmla="*/ 10407 h 10407"/>
                <a:gd name="connsiteX1" fmla="*/ 338 w 10031"/>
                <a:gd name="connsiteY1" fmla="*/ 8042 h 10407"/>
                <a:gd name="connsiteX2" fmla="*/ 639 w 10031"/>
                <a:gd name="connsiteY2" fmla="*/ 6225 h 10407"/>
                <a:gd name="connsiteX3" fmla="*/ 646 w 10031"/>
                <a:gd name="connsiteY3" fmla="*/ 6197 h 10407"/>
                <a:gd name="connsiteX4" fmla="*/ 9409 w 10031"/>
                <a:gd name="connsiteY4" fmla="*/ 0 h 10407"/>
                <a:gd name="connsiteX5" fmla="*/ 10031 w 10031"/>
                <a:gd name="connsiteY5" fmla="*/ 3887 h 10407"/>
                <a:gd name="connsiteX6" fmla="*/ 72 w 10031"/>
                <a:gd name="connsiteY6" fmla="*/ 10000 h 10407"/>
                <a:gd name="connsiteX7" fmla="*/ 3 w 10031"/>
                <a:gd name="connsiteY7" fmla="*/ 10407 h 10407"/>
                <a:gd name="connsiteX0" fmla="*/ 3 w 10031"/>
                <a:gd name="connsiteY0" fmla="*/ 10407 h 10408"/>
                <a:gd name="connsiteX1" fmla="*/ 338 w 10031"/>
                <a:gd name="connsiteY1" fmla="*/ 8042 h 10408"/>
                <a:gd name="connsiteX2" fmla="*/ 639 w 10031"/>
                <a:gd name="connsiteY2" fmla="*/ 6225 h 10408"/>
                <a:gd name="connsiteX3" fmla="*/ 646 w 10031"/>
                <a:gd name="connsiteY3" fmla="*/ 6197 h 10408"/>
                <a:gd name="connsiteX4" fmla="*/ 9409 w 10031"/>
                <a:gd name="connsiteY4" fmla="*/ 0 h 10408"/>
                <a:gd name="connsiteX5" fmla="*/ 10031 w 10031"/>
                <a:gd name="connsiteY5" fmla="*/ 3887 h 10408"/>
                <a:gd name="connsiteX6" fmla="*/ 17 w 10031"/>
                <a:gd name="connsiteY6" fmla="*/ 10359 h 10408"/>
                <a:gd name="connsiteX7" fmla="*/ 3 w 10031"/>
                <a:gd name="connsiteY7" fmla="*/ 10407 h 10408"/>
                <a:gd name="connsiteX0" fmla="*/ 3 w 10226"/>
                <a:gd name="connsiteY0" fmla="*/ 10441 h 10442"/>
                <a:gd name="connsiteX1" fmla="*/ 338 w 10226"/>
                <a:gd name="connsiteY1" fmla="*/ 8076 h 10442"/>
                <a:gd name="connsiteX2" fmla="*/ 639 w 10226"/>
                <a:gd name="connsiteY2" fmla="*/ 6259 h 10442"/>
                <a:gd name="connsiteX3" fmla="*/ 646 w 10226"/>
                <a:gd name="connsiteY3" fmla="*/ 6231 h 10442"/>
                <a:gd name="connsiteX4" fmla="*/ 9409 w 10226"/>
                <a:gd name="connsiteY4" fmla="*/ 34 h 10442"/>
                <a:gd name="connsiteX5" fmla="*/ 9990 w 10226"/>
                <a:gd name="connsiteY5" fmla="*/ 3921 h 10442"/>
                <a:gd name="connsiteX6" fmla="*/ 17 w 10226"/>
                <a:gd name="connsiteY6" fmla="*/ 10393 h 10442"/>
                <a:gd name="connsiteX7" fmla="*/ 3 w 10226"/>
                <a:gd name="connsiteY7" fmla="*/ 10441 h 10442"/>
                <a:gd name="connsiteX0" fmla="*/ 3 w 10291"/>
                <a:gd name="connsiteY0" fmla="*/ 10432 h 10433"/>
                <a:gd name="connsiteX1" fmla="*/ 338 w 10291"/>
                <a:gd name="connsiteY1" fmla="*/ 8067 h 10433"/>
                <a:gd name="connsiteX2" fmla="*/ 639 w 10291"/>
                <a:gd name="connsiteY2" fmla="*/ 6250 h 10433"/>
                <a:gd name="connsiteX3" fmla="*/ 646 w 10291"/>
                <a:gd name="connsiteY3" fmla="*/ 6222 h 10433"/>
                <a:gd name="connsiteX4" fmla="*/ 9409 w 10291"/>
                <a:gd name="connsiteY4" fmla="*/ 25 h 10433"/>
                <a:gd name="connsiteX5" fmla="*/ 9990 w 10291"/>
                <a:gd name="connsiteY5" fmla="*/ 3912 h 10433"/>
                <a:gd name="connsiteX6" fmla="*/ 17 w 10291"/>
                <a:gd name="connsiteY6" fmla="*/ 10384 h 10433"/>
                <a:gd name="connsiteX7" fmla="*/ 3 w 10291"/>
                <a:gd name="connsiteY7" fmla="*/ 10432 h 10433"/>
                <a:gd name="connsiteX0" fmla="*/ 3 w 10252"/>
                <a:gd name="connsiteY0" fmla="*/ 10639 h 10640"/>
                <a:gd name="connsiteX1" fmla="*/ 338 w 10252"/>
                <a:gd name="connsiteY1" fmla="*/ 8274 h 10640"/>
                <a:gd name="connsiteX2" fmla="*/ 639 w 10252"/>
                <a:gd name="connsiteY2" fmla="*/ 6457 h 10640"/>
                <a:gd name="connsiteX3" fmla="*/ 646 w 10252"/>
                <a:gd name="connsiteY3" fmla="*/ 6429 h 10640"/>
                <a:gd name="connsiteX4" fmla="*/ 9340 w 10252"/>
                <a:gd name="connsiteY4" fmla="*/ 23 h 10640"/>
                <a:gd name="connsiteX5" fmla="*/ 9990 w 10252"/>
                <a:gd name="connsiteY5" fmla="*/ 4119 h 10640"/>
                <a:gd name="connsiteX6" fmla="*/ 17 w 10252"/>
                <a:gd name="connsiteY6" fmla="*/ 10591 h 10640"/>
                <a:gd name="connsiteX7" fmla="*/ 3 w 10252"/>
                <a:gd name="connsiteY7" fmla="*/ 10639 h 10640"/>
                <a:gd name="connsiteX0" fmla="*/ 3 w 9990"/>
                <a:gd name="connsiteY0" fmla="*/ 10721 h 10722"/>
                <a:gd name="connsiteX1" fmla="*/ 338 w 9990"/>
                <a:gd name="connsiteY1" fmla="*/ 8356 h 10722"/>
                <a:gd name="connsiteX2" fmla="*/ 639 w 9990"/>
                <a:gd name="connsiteY2" fmla="*/ 6539 h 10722"/>
                <a:gd name="connsiteX3" fmla="*/ 646 w 9990"/>
                <a:gd name="connsiteY3" fmla="*/ 6511 h 10722"/>
                <a:gd name="connsiteX4" fmla="*/ 9340 w 9990"/>
                <a:gd name="connsiteY4" fmla="*/ 105 h 10722"/>
                <a:gd name="connsiteX5" fmla="*/ 9990 w 9990"/>
                <a:gd name="connsiteY5" fmla="*/ 4201 h 10722"/>
                <a:gd name="connsiteX6" fmla="*/ 17 w 9990"/>
                <a:gd name="connsiteY6" fmla="*/ 10673 h 10722"/>
                <a:gd name="connsiteX7" fmla="*/ 3 w 9990"/>
                <a:gd name="connsiteY7" fmla="*/ 10721 h 10722"/>
                <a:gd name="connsiteX0" fmla="*/ 3 w 10000"/>
                <a:gd name="connsiteY0" fmla="*/ 9901 h 9902"/>
                <a:gd name="connsiteX1" fmla="*/ 338 w 10000"/>
                <a:gd name="connsiteY1" fmla="*/ 7695 h 9902"/>
                <a:gd name="connsiteX2" fmla="*/ 640 w 10000"/>
                <a:gd name="connsiteY2" fmla="*/ 6001 h 9902"/>
                <a:gd name="connsiteX3" fmla="*/ 647 w 10000"/>
                <a:gd name="connsiteY3" fmla="*/ 5975 h 9902"/>
                <a:gd name="connsiteX4" fmla="*/ 9349 w 10000"/>
                <a:gd name="connsiteY4" fmla="*/ 0 h 9902"/>
                <a:gd name="connsiteX5" fmla="*/ 10000 w 10000"/>
                <a:gd name="connsiteY5" fmla="*/ 3820 h 9902"/>
                <a:gd name="connsiteX6" fmla="*/ 17 w 10000"/>
                <a:gd name="connsiteY6" fmla="*/ 9856 h 9902"/>
                <a:gd name="connsiteX7" fmla="*/ 3 w 10000"/>
                <a:gd name="connsiteY7" fmla="*/ 9901 h 9902"/>
                <a:gd name="connsiteX0" fmla="*/ 3 w 10000"/>
                <a:gd name="connsiteY0" fmla="*/ 9999 h 10000"/>
                <a:gd name="connsiteX1" fmla="*/ 338 w 10000"/>
                <a:gd name="connsiteY1" fmla="*/ 7771 h 10000"/>
                <a:gd name="connsiteX2" fmla="*/ 640 w 10000"/>
                <a:gd name="connsiteY2" fmla="*/ 6060 h 10000"/>
                <a:gd name="connsiteX3" fmla="*/ 647 w 10000"/>
                <a:gd name="connsiteY3" fmla="*/ 6034 h 10000"/>
                <a:gd name="connsiteX4" fmla="*/ 9349 w 10000"/>
                <a:gd name="connsiteY4" fmla="*/ 0 h 10000"/>
                <a:gd name="connsiteX5" fmla="*/ 10000 w 10000"/>
                <a:gd name="connsiteY5" fmla="*/ 3858 h 10000"/>
                <a:gd name="connsiteX6" fmla="*/ 17 w 10000"/>
                <a:gd name="connsiteY6" fmla="*/ 9954 h 10000"/>
                <a:gd name="connsiteX7" fmla="*/ 3 w 10000"/>
                <a:gd name="connsiteY7" fmla="*/ 9999 h 10000"/>
                <a:gd name="connsiteX0" fmla="*/ 3 w 10000"/>
                <a:gd name="connsiteY0" fmla="*/ 9999 h 10000"/>
                <a:gd name="connsiteX1" fmla="*/ 338 w 10000"/>
                <a:gd name="connsiteY1" fmla="*/ 7771 h 10000"/>
                <a:gd name="connsiteX2" fmla="*/ 640 w 10000"/>
                <a:gd name="connsiteY2" fmla="*/ 6060 h 10000"/>
                <a:gd name="connsiteX3" fmla="*/ 647 w 10000"/>
                <a:gd name="connsiteY3" fmla="*/ 6034 h 10000"/>
                <a:gd name="connsiteX4" fmla="*/ 9349 w 10000"/>
                <a:gd name="connsiteY4" fmla="*/ 0 h 10000"/>
                <a:gd name="connsiteX5" fmla="*/ 10000 w 10000"/>
                <a:gd name="connsiteY5" fmla="*/ 3858 h 10000"/>
                <a:gd name="connsiteX6" fmla="*/ 17 w 10000"/>
                <a:gd name="connsiteY6" fmla="*/ 9954 h 10000"/>
                <a:gd name="connsiteX7" fmla="*/ 3 w 10000"/>
                <a:gd name="connsiteY7" fmla="*/ 999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3" y="9999"/>
                  </a:moveTo>
                  <a:cubicBezTo>
                    <a:pt x="-17" y="9959"/>
                    <a:pt x="31" y="9522"/>
                    <a:pt x="338" y="7771"/>
                  </a:cubicBezTo>
                  <a:cubicBezTo>
                    <a:pt x="489" y="6923"/>
                    <a:pt x="640" y="6074"/>
                    <a:pt x="640" y="6060"/>
                  </a:cubicBezTo>
                  <a:cubicBezTo>
                    <a:pt x="642" y="6051"/>
                    <a:pt x="647" y="6026"/>
                    <a:pt x="647" y="6034"/>
                  </a:cubicBezTo>
                  <a:cubicBezTo>
                    <a:pt x="647" y="6040"/>
                    <a:pt x="6448" y="2011"/>
                    <a:pt x="9349" y="0"/>
                  </a:cubicBezTo>
                  <a:cubicBezTo>
                    <a:pt x="9375" y="47"/>
                    <a:pt x="9999" y="3850"/>
                    <a:pt x="10000" y="3858"/>
                  </a:cubicBezTo>
                  <a:lnTo>
                    <a:pt x="17" y="9954"/>
                  </a:lnTo>
                  <a:cubicBezTo>
                    <a:pt x="12" y="9940"/>
                    <a:pt x="8" y="10012"/>
                    <a:pt x="3" y="9999"/>
                  </a:cubicBezTo>
                  <a:close/>
                </a:path>
              </a:pathLst>
            </a:custGeom>
            <a:solidFill>
              <a:schemeClr val="bg1">
                <a:lumMod val="85000"/>
              </a:schemeClr>
            </a:solidFill>
            <a:ln w="15875">
              <a:solidFill>
                <a:schemeClr val="bg1">
                  <a:lumMod val="85000"/>
                </a:schemeClr>
              </a:solidFill>
            </a:ln>
          </p:spPr>
          <p:txBody>
            <a:bodyPr vert="horz" wrap="square" lIns="74276" tIns="37138" rIns="74276" bIns="37138" numCol="1" anchor="t" anchorCtr="0" compatLnSpc="1">
              <a:prstTxWarp prst="textNoShape">
                <a:avLst/>
              </a:prstTxWarp>
            </a:bodyPr>
            <a:lstStyle/>
            <a:p>
              <a:endParaRPr lang="en-AU" sz="1462"/>
            </a:p>
          </p:txBody>
        </p:sp>
        <p:grpSp>
          <p:nvGrpSpPr>
            <p:cNvPr id="14" name="Group 13">
              <a:extLst>
                <a:ext uri="{FF2B5EF4-FFF2-40B4-BE49-F238E27FC236}">
                  <a16:creationId xmlns:a16="http://schemas.microsoft.com/office/drawing/2014/main" id="{69C74A6C-21F8-6C52-6765-3DB37CCE7775}"/>
                </a:ext>
              </a:extLst>
            </p:cNvPr>
            <p:cNvGrpSpPr/>
            <p:nvPr/>
          </p:nvGrpSpPr>
          <p:grpSpPr>
            <a:xfrm>
              <a:off x="3083910" y="4996267"/>
              <a:ext cx="3732180" cy="513656"/>
              <a:chOff x="5337767" y="4490242"/>
              <a:chExt cx="3578226" cy="630000"/>
            </a:xfrm>
          </p:grpSpPr>
          <p:sp>
            <p:nvSpPr>
              <p:cNvPr id="31" name="Freeform 32">
                <a:extLst>
                  <a:ext uri="{FF2B5EF4-FFF2-40B4-BE49-F238E27FC236}">
                    <a16:creationId xmlns:a16="http://schemas.microsoft.com/office/drawing/2014/main" id="{F924F360-5DD4-8D4A-B3A1-BA597B0633F1}"/>
                  </a:ext>
                </a:extLst>
              </p:cNvPr>
              <p:cNvSpPr>
                <a:spLocks/>
              </p:cNvSpPr>
              <p:nvPr/>
            </p:nvSpPr>
            <p:spPr bwMode="auto">
              <a:xfrm rot="10800000" flipV="1">
                <a:off x="5337768" y="4490242"/>
                <a:ext cx="3578225" cy="630000"/>
              </a:xfrm>
              <a:custGeom>
                <a:avLst/>
                <a:gdLst>
                  <a:gd name="T0" fmla="*/ 2124 w 2254"/>
                  <a:gd name="T1" fmla="*/ 0 h 403"/>
                  <a:gd name="T2" fmla="*/ 129 w 2254"/>
                  <a:gd name="T3" fmla="*/ 0 h 403"/>
                  <a:gd name="T4" fmla="*/ 0 w 2254"/>
                  <a:gd name="T5" fmla="*/ 403 h 403"/>
                  <a:gd name="T6" fmla="*/ 2254 w 2254"/>
                  <a:gd name="T7" fmla="*/ 403 h 403"/>
                  <a:gd name="T8" fmla="*/ 2124 w 2254"/>
                  <a:gd name="T9" fmla="*/ 0 h 403"/>
                </a:gdLst>
                <a:ahLst/>
                <a:cxnLst>
                  <a:cxn ang="0">
                    <a:pos x="T0" y="T1"/>
                  </a:cxn>
                  <a:cxn ang="0">
                    <a:pos x="T2" y="T3"/>
                  </a:cxn>
                  <a:cxn ang="0">
                    <a:pos x="T4" y="T5"/>
                  </a:cxn>
                  <a:cxn ang="0">
                    <a:pos x="T6" y="T7"/>
                  </a:cxn>
                  <a:cxn ang="0">
                    <a:pos x="T8" y="T9"/>
                  </a:cxn>
                </a:cxnLst>
                <a:rect l="0" t="0" r="r" b="b"/>
                <a:pathLst>
                  <a:path w="2254" h="403">
                    <a:moveTo>
                      <a:pt x="2124" y="0"/>
                    </a:moveTo>
                    <a:lnTo>
                      <a:pt x="129" y="0"/>
                    </a:lnTo>
                    <a:lnTo>
                      <a:pt x="0" y="403"/>
                    </a:lnTo>
                    <a:lnTo>
                      <a:pt x="2254" y="403"/>
                    </a:lnTo>
                    <a:lnTo>
                      <a:pt x="2124" y="0"/>
                    </a:lnTo>
                    <a:close/>
                  </a:path>
                </a:pathLst>
              </a:custGeom>
              <a:solidFill>
                <a:schemeClr val="bg1"/>
              </a:solidFill>
              <a:ln w="19050" cap="flat">
                <a:solidFill>
                  <a:schemeClr val="tx2"/>
                </a:solidFill>
                <a:prstDash val="solid"/>
                <a:miter lim="800000"/>
                <a:headEnd/>
                <a:tailEnd/>
              </a:ln>
            </p:spPr>
            <p:txBody>
              <a:bodyPr vert="horz" wrap="square" lIns="74276" tIns="0" rIns="74276" bIns="58485" numCol="1" anchor="ctr" anchorCtr="0" compatLnSpc="1">
                <a:prstTxWarp prst="textNoShape">
                  <a:avLst/>
                </a:prstTxWarp>
              </a:bodyPr>
              <a:lstStyle/>
              <a:p>
                <a:pPr algn="ctr" defTabSz="742726">
                  <a:defRPr/>
                </a:pPr>
                <a:r>
                  <a:rPr lang="en-AU" sz="1100">
                    <a:solidFill>
                      <a:srgbClr val="00264D"/>
                    </a:solidFill>
                    <a:latin typeface="Segoe UI Semibold"/>
                  </a:rPr>
                  <a:t>INFORMATION SYSTEMS AND TECHNOLOGY</a:t>
                </a:r>
              </a:p>
            </p:txBody>
          </p:sp>
          <p:sp>
            <p:nvSpPr>
              <p:cNvPr id="32" name="Freeform: Shape 31">
                <a:extLst>
                  <a:ext uri="{FF2B5EF4-FFF2-40B4-BE49-F238E27FC236}">
                    <a16:creationId xmlns:a16="http://schemas.microsoft.com/office/drawing/2014/main" id="{E00511EB-8B55-F389-84FA-D87EAF9765C7}"/>
                  </a:ext>
                </a:extLst>
              </p:cNvPr>
              <p:cNvSpPr>
                <a:spLocks/>
              </p:cNvSpPr>
              <p:nvPr/>
            </p:nvSpPr>
            <p:spPr bwMode="auto">
              <a:xfrm rot="10800000">
                <a:off x="5337767" y="5030242"/>
                <a:ext cx="3578225" cy="90000"/>
              </a:xfrm>
              <a:custGeom>
                <a:avLst/>
                <a:gdLst>
                  <a:gd name="connsiteX0" fmla="*/ 0 w 3578225"/>
                  <a:gd name="connsiteY0" fmla="*/ 0 h 95672"/>
                  <a:gd name="connsiteX1" fmla="*/ 3578225 w 3578225"/>
                  <a:gd name="connsiteY1" fmla="*/ 0 h 95672"/>
                  <a:gd name="connsiteX2" fmla="*/ 3546885 w 3578225"/>
                  <a:gd name="connsiteY2" fmla="*/ 95672 h 95672"/>
                  <a:gd name="connsiteX3" fmla="*/ 31099 w 3578225"/>
                  <a:gd name="connsiteY3" fmla="*/ 95672 h 95672"/>
                </a:gdLst>
                <a:ahLst/>
                <a:cxnLst>
                  <a:cxn ang="0">
                    <a:pos x="connsiteX0" y="connsiteY0"/>
                  </a:cxn>
                  <a:cxn ang="0">
                    <a:pos x="connsiteX1" y="connsiteY1"/>
                  </a:cxn>
                  <a:cxn ang="0">
                    <a:pos x="connsiteX2" y="connsiteY2"/>
                  </a:cxn>
                  <a:cxn ang="0">
                    <a:pos x="connsiteX3" y="connsiteY3"/>
                  </a:cxn>
                </a:cxnLst>
                <a:rect l="l" t="t" r="r" b="b"/>
                <a:pathLst>
                  <a:path w="3578225" h="95672">
                    <a:moveTo>
                      <a:pt x="0" y="0"/>
                    </a:moveTo>
                    <a:lnTo>
                      <a:pt x="3578225" y="0"/>
                    </a:lnTo>
                    <a:lnTo>
                      <a:pt x="3546885" y="95672"/>
                    </a:lnTo>
                    <a:lnTo>
                      <a:pt x="31099" y="95672"/>
                    </a:lnTo>
                    <a:close/>
                  </a:path>
                </a:pathLst>
              </a:custGeom>
              <a:solidFill>
                <a:schemeClr val="tx2"/>
              </a:solidFill>
              <a:ln w="15875" cap="flat">
                <a:solidFill>
                  <a:schemeClr val="tx2"/>
                </a:solidFill>
                <a:prstDash val="solid"/>
                <a:miter lim="800000"/>
                <a:headEnd/>
                <a:tailEnd/>
              </a:ln>
            </p:spPr>
            <p:txBody>
              <a:bodyPr vert="horz" wrap="square" lIns="74276" tIns="37138" rIns="74276" bIns="37138" numCol="1" anchor="ctr" anchorCtr="0" compatLnSpc="1">
                <a:prstTxWarp prst="textNoShape">
                  <a:avLst/>
                </a:prstTxWarp>
                <a:noAutofit/>
              </a:bodyPr>
              <a:lstStyle/>
              <a:p>
                <a:pPr algn="ctr"/>
                <a:endParaRPr lang="en-AU" sz="1100">
                  <a:solidFill>
                    <a:schemeClr val="bg2"/>
                  </a:solidFill>
                  <a:latin typeface="Segoe UI Semibold" panose="020B0702040204020203" pitchFamily="34" charset="0"/>
                  <a:ea typeface="Segoe UI" panose="020B0502040204020203" pitchFamily="34" charset="0"/>
                  <a:cs typeface="Segoe UI" panose="020B0502040204020203" pitchFamily="34" charset="0"/>
                </a:endParaRPr>
              </a:p>
            </p:txBody>
          </p:sp>
        </p:grpSp>
        <p:grpSp>
          <p:nvGrpSpPr>
            <p:cNvPr id="15" name="Group 14">
              <a:extLst>
                <a:ext uri="{FF2B5EF4-FFF2-40B4-BE49-F238E27FC236}">
                  <a16:creationId xmlns:a16="http://schemas.microsoft.com/office/drawing/2014/main" id="{5105D69D-F438-E647-8B10-9BDB079AFD82}"/>
                </a:ext>
              </a:extLst>
            </p:cNvPr>
            <p:cNvGrpSpPr/>
            <p:nvPr/>
          </p:nvGrpSpPr>
          <p:grpSpPr>
            <a:xfrm>
              <a:off x="3411759" y="4203488"/>
              <a:ext cx="3078137" cy="513656"/>
              <a:chOff x="5652093" y="3517898"/>
              <a:chExt cx="2951162" cy="630000"/>
            </a:xfrm>
          </p:grpSpPr>
          <p:sp>
            <p:nvSpPr>
              <p:cNvPr id="26" name="Freeform 28">
                <a:extLst>
                  <a:ext uri="{FF2B5EF4-FFF2-40B4-BE49-F238E27FC236}">
                    <a16:creationId xmlns:a16="http://schemas.microsoft.com/office/drawing/2014/main" id="{1AEE9A7E-9EB5-39D2-323C-4712EC9B4D71}"/>
                  </a:ext>
                </a:extLst>
              </p:cNvPr>
              <p:cNvSpPr>
                <a:spLocks/>
              </p:cNvSpPr>
              <p:nvPr/>
            </p:nvSpPr>
            <p:spPr bwMode="auto">
              <a:xfrm rot="10800000" flipV="1">
                <a:off x="5652093" y="3517898"/>
                <a:ext cx="2951162" cy="630000"/>
              </a:xfrm>
              <a:custGeom>
                <a:avLst/>
                <a:gdLst>
                  <a:gd name="T0" fmla="*/ 1730 w 1859"/>
                  <a:gd name="T1" fmla="*/ 0 h 401"/>
                  <a:gd name="T2" fmla="*/ 131 w 1859"/>
                  <a:gd name="T3" fmla="*/ 0 h 401"/>
                  <a:gd name="T4" fmla="*/ 0 w 1859"/>
                  <a:gd name="T5" fmla="*/ 401 h 401"/>
                  <a:gd name="T6" fmla="*/ 1859 w 1859"/>
                  <a:gd name="T7" fmla="*/ 401 h 401"/>
                  <a:gd name="T8" fmla="*/ 1730 w 1859"/>
                  <a:gd name="T9" fmla="*/ 0 h 401"/>
                </a:gdLst>
                <a:ahLst/>
                <a:cxnLst>
                  <a:cxn ang="0">
                    <a:pos x="T0" y="T1"/>
                  </a:cxn>
                  <a:cxn ang="0">
                    <a:pos x="T2" y="T3"/>
                  </a:cxn>
                  <a:cxn ang="0">
                    <a:pos x="T4" y="T5"/>
                  </a:cxn>
                  <a:cxn ang="0">
                    <a:pos x="T6" y="T7"/>
                  </a:cxn>
                  <a:cxn ang="0">
                    <a:pos x="T8" y="T9"/>
                  </a:cxn>
                </a:cxnLst>
                <a:rect l="0" t="0" r="r" b="b"/>
                <a:pathLst>
                  <a:path w="1859" h="401">
                    <a:moveTo>
                      <a:pt x="1730" y="0"/>
                    </a:moveTo>
                    <a:lnTo>
                      <a:pt x="131" y="0"/>
                    </a:lnTo>
                    <a:lnTo>
                      <a:pt x="0" y="401"/>
                    </a:lnTo>
                    <a:lnTo>
                      <a:pt x="1859" y="401"/>
                    </a:lnTo>
                    <a:lnTo>
                      <a:pt x="1730" y="0"/>
                    </a:lnTo>
                    <a:close/>
                  </a:path>
                </a:pathLst>
              </a:custGeom>
              <a:solidFill>
                <a:schemeClr val="bg1"/>
              </a:solidFill>
              <a:ln w="19050" cap="flat">
                <a:solidFill>
                  <a:schemeClr val="accent5"/>
                </a:solidFill>
                <a:prstDash val="solid"/>
                <a:miter lim="800000"/>
                <a:headEnd/>
                <a:tailEnd/>
              </a:ln>
            </p:spPr>
            <p:txBody>
              <a:bodyPr vert="horz" wrap="square" lIns="74276" tIns="0" rIns="74276" bIns="58485" numCol="1" anchor="ctr" anchorCtr="0" compatLnSpc="1">
                <a:prstTxWarp prst="textNoShape">
                  <a:avLst/>
                </a:prstTxWarp>
              </a:bodyPr>
              <a:lstStyle/>
              <a:p>
                <a:pPr algn="ctr" defTabSz="742726">
                  <a:defRPr/>
                </a:pPr>
                <a:r>
                  <a:rPr lang="en-AU" sz="1100">
                    <a:solidFill>
                      <a:srgbClr val="00264D"/>
                    </a:solidFill>
                    <a:latin typeface="Segoe UI Semibold"/>
                  </a:rPr>
                  <a:t>INFORMATION GOVERNANCE</a:t>
                </a:r>
              </a:p>
            </p:txBody>
          </p:sp>
          <p:sp>
            <p:nvSpPr>
              <p:cNvPr id="30" name="Freeform: Shape 29">
                <a:extLst>
                  <a:ext uri="{FF2B5EF4-FFF2-40B4-BE49-F238E27FC236}">
                    <a16:creationId xmlns:a16="http://schemas.microsoft.com/office/drawing/2014/main" id="{AD6FA50E-49CB-A613-EF3F-2FB3672045F0}"/>
                  </a:ext>
                </a:extLst>
              </p:cNvPr>
              <p:cNvSpPr>
                <a:spLocks/>
              </p:cNvSpPr>
              <p:nvPr/>
            </p:nvSpPr>
            <p:spPr bwMode="auto">
              <a:xfrm rot="10800000">
                <a:off x="5652093" y="4057898"/>
                <a:ext cx="2951162" cy="90000"/>
              </a:xfrm>
              <a:custGeom>
                <a:avLst/>
                <a:gdLst>
                  <a:gd name="connsiteX0" fmla="*/ 0 w 2951162"/>
                  <a:gd name="connsiteY0" fmla="*/ 0 h 95672"/>
                  <a:gd name="connsiteX1" fmla="*/ 2951162 w 2951162"/>
                  <a:gd name="connsiteY1" fmla="*/ 0 h 95672"/>
                  <a:gd name="connsiteX2" fmla="*/ 2920063 w 2951162"/>
                  <a:gd name="connsiteY2" fmla="*/ 95672 h 95672"/>
                  <a:gd name="connsiteX3" fmla="*/ 31582 w 2951162"/>
                  <a:gd name="connsiteY3" fmla="*/ 95672 h 95672"/>
                </a:gdLst>
                <a:ahLst/>
                <a:cxnLst>
                  <a:cxn ang="0">
                    <a:pos x="connsiteX0" y="connsiteY0"/>
                  </a:cxn>
                  <a:cxn ang="0">
                    <a:pos x="connsiteX1" y="connsiteY1"/>
                  </a:cxn>
                  <a:cxn ang="0">
                    <a:pos x="connsiteX2" y="connsiteY2"/>
                  </a:cxn>
                  <a:cxn ang="0">
                    <a:pos x="connsiteX3" y="connsiteY3"/>
                  </a:cxn>
                </a:cxnLst>
                <a:rect l="l" t="t" r="r" b="b"/>
                <a:pathLst>
                  <a:path w="2951162" h="95672">
                    <a:moveTo>
                      <a:pt x="0" y="0"/>
                    </a:moveTo>
                    <a:lnTo>
                      <a:pt x="2951162" y="0"/>
                    </a:lnTo>
                    <a:lnTo>
                      <a:pt x="2920063" y="95672"/>
                    </a:lnTo>
                    <a:lnTo>
                      <a:pt x="31582" y="95672"/>
                    </a:lnTo>
                    <a:close/>
                  </a:path>
                </a:pathLst>
              </a:custGeom>
              <a:solidFill>
                <a:schemeClr val="accent5"/>
              </a:solidFill>
              <a:ln w="15875" cap="flat">
                <a:solidFill>
                  <a:schemeClr val="accent5"/>
                </a:solidFill>
                <a:prstDash val="solid"/>
                <a:miter lim="800000"/>
                <a:headEnd/>
                <a:tailEnd/>
              </a:ln>
            </p:spPr>
            <p:txBody>
              <a:bodyPr vert="horz" wrap="square" lIns="74276" tIns="37138" rIns="74276" bIns="37138" numCol="1" anchor="ctr" anchorCtr="0" compatLnSpc="1">
                <a:prstTxWarp prst="textNoShape">
                  <a:avLst/>
                </a:prstTxWarp>
                <a:noAutofit/>
              </a:bodyPr>
              <a:lstStyle/>
              <a:p>
                <a:pPr algn="ctr"/>
                <a:endParaRPr lang="en-AU" sz="1100">
                  <a:solidFill>
                    <a:schemeClr val="bg2"/>
                  </a:solidFill>
                  <a:latin typeface="Segoe UI Semibold" panose="020B0702040204020203" pitchFamily="34" charset="0"/>
                  <a:ea typeface="Segoe UI" panose="020B0502040204020203" pitchFamily="34" charset="0"/>
                  <a:cs typeface="Segoe UI" panose="020B0502040204020203" pitchFamily="34" charset="0"/>
                </a:endParaRPr>
              </a:p>
            </p:txBody>
          </p:sp>
        </p:grpSp>
        <p:grpSp>
          <p:nvGrpSpPr>
            <p:cNvPr id="16" name="Group 15">
              <a:extLst>
                <a:ext uri="{FF2B5EF4-FFF2-40B4-BE49-F238E27FC236}">
                  <a16:creationId xmlns:a16="http://schemas.microsoft.com/office/drawing/2014/main" id="{F3D83027-20FF-98A0-EE9B-469BD80AA127}"/>
                </a:ext>
              </a:extLst>
            </p:cNvPr>
            <p:cNvGrpSpPr/>
            <p:nvPr/>
          </p:nvGrpSpPr>
          <p:grpSpPr>
            <a:xfrm>
              <a:off x="3741264" y="3410710"/>
              <a:ext cx="2417472" cy="513656"/>
              <a:chOff x="5968005" y="2545554"/>
              <a:chExt cx="2317750" cy="630000"/>
            </a:xfrm>
          </p:grpSpPr>
          <p:sp>
            <p:nvSpPr>
              <p:cNvPr id="20" name="Freeform 29">
                <a:extLst>
                  <a:ext uri="{FF2B5EF4-FFF2-40B4-BE49-F238E27FC236}">
                    <a16:creationId xmlns:a16="http://schemas.microsoft.com/office/drawing/2014/main" id="{F82B8B99-F204-FDA1-A079-EAB78A8363D6}"/>
                  </a:ext>
                </a:extLst>
              </p:cNvPr>
              <p:cNvSpPr>
                <a:spLocks/>
              </p:cNvSpPr>
              <p:nvPr/>
            </p:nvSpPr>
            <p:spPr bwMode="auto">
              <a:xfrm rot="10800000" flipV="1">
                <a:off x="5968005" y="2545554"/>
                <a:ext cx="2317750" cy="630000"/>
              </a:xfrm>
              <a:custGeom>
                <a:avLst/>
                <a:gdLst>
                  <a:gd name="T0" fmla="*/ 1331 w 1460"/>
                  <a:gd name="T1" fmla="*/ 0 h 401"/>
                  <a:gd name="T2" fmla="*/ 129 w 1460"/>
                  <a:gd name="T3" fmla="*/ 0 h 401"/>
                  <a:gd name="T4" fmla="*/ 0 w 1460"/>
                  <a:gd name="T5" fmla="*/ 401 h 401"/>
                  <a:gd name="T6" fmla="*/ 1460 w 1460"/>
                  <a:gd name="T7" fmla="*/ 401 h 401"/>
                  <a:gd name="T8" fmla="*/ 1331 w 1460"/>
                  <a:gd name="T9" fmla="*/ 0 h 401"/>
                </a:gdLst>
                <a:ahLst/>
                <a:cxnLst>
                  <a:cxn ang="0">
                    <a:pos x="T0" y="T1"/>
                  </a:cxn>
                  <a:cxn ang="0">
                    <a:pos x="T2" y="T3"/>
                  </a:cxn>
                  <a:cxn ang="0">
                    <a:pos x="T4" y="T5"/>
                  </a:cxn>
                  <a:cxn ang="0">
                    <a:pos x="T6" y="T7"/>
                  </a:cxn>
                  <a:cxn ang="0">
                    <a:pos x="T8" y="T9"/>
                  </a:cxn>
                </a:cxnLst>
                <a:rect l="0" t="0" r="r" b="b"/>
                <a:pathLst>
                  <a:path w="1460" h="401">
                    <a:moveTo>
                      <a:pt x="1331" y="0"/>
                    </a:moveTo>
                    <a:lnTo>
                      <a:pt x="129" y="0"/>
                    </a:lnTo>
                    <a:lnTo>
                      <a:pt x="0" y="401"/>
                    </a:lnTo>
                    <a:lnTo>
                      <a:pt x="1460" y="401"/>
                    </a:lnTo>
                    <a:lnTo>
                      <a:pt x="1331" y="0"/>
                    </a:lnTo>
                    <a:close/>
                  </a:path>
                </a:pathLst>
              </a:custGeom>
              <a:solidFill>
                <a:schemeClr val="bg1"/>
              </a:solidFill>
              <a:ln w="19050" cap="flat">
                <a:solidFill>
                  <a:schemeClr val="accent3"/>
                </a:solidFill>
                <a:prstDash val="solid"/>
                <a:miter lim="800000"/>
                <a:headEnd/>
                <a:tailEnd/>
              </a:ln>
            </p:spPr>
            <p:txBody>
              <a:bodyPr vert="horz" wrap="square" lIns="74276" tIns="0" rIns="74276" bIns="58485" numCol="1" anchor="ctr" anchorCtr="0" compatLnSpc="1">
                <a:prstTxWarp prst="textNoShape">
                  <a:avLst/>
                </a:prstTxWarp>
              </a:bodyPr>
              <a:lstStyle/>
              <a:p>
                <a:pPr algn="ctr" defTabSz="742726">
                  <a:defRPr/>
                </a:pPr>
                <a:r>
                  <a:rPr lang="en-AU" sz="1100">
                    <a:solidFill>
                      <a:srgbClr val="00264D"/>
                    </a:solidFill>
                    <a:latin typeface="Segoe UI Semibold"/>
                  </a:rPr>
                  <a:t>INFORMATION PROCESSES</a:t>
                </a:r>
              </a:p>
            </p:txBody>
          </p:sp>
          <p:sp>
            <p:nvSpPr>
              <p:cNvPr id="21" name="Freeform: Shape 20">
                <a:extLst>
                  <a:ext uri="{FF2B5EF4-FFF2-40B4-BE49-F238E27FC236}">
                    <a16:creationId xmlns:a16="http://schemas.microsoft.com/office/drawing/2014/main" id="{B04FFF6B-4AEE-1D93-78AA-B67304840040}"/>
                  </a:ext>
                </a:extLst>
              </p:cNvPr>
              <p:cNvSpPr>
                <a:spLocks/>
              </p:cNvSpPr>
              <p:nvPr/>
            </p:nvSpPr>
            <p:spPr bwMode="auto">
              <a:xfrm rot="10800000">
                <a:off x="5968005" y="3085554"/>
                <a:ext cx="2317750" cy="90000"/>
              </a:xfrm>
              <a:custGeom>
                <a:avLst/>
                <a:gdLst>
                  <a:gd name="connsiteX0" fmla="*/ 0 w 2317750"/>
                  <a:gd name="connsiteY0" fmla="*/ 0 h 95672"/>
                  <a:gd name="connsiteX1" fmla="*/ 2317750 w 2317750"/>
                  <a:gd name="connsiteY1" fmla="*/ 0 h 95672"/>
                  <a:gd name="connsiteX2" fmla="*/ 2286651 w 2317750"/>
                  <a:gd name="connsiteY2" fmla="*/ 95672 h 95672"/>
                  <a:gd name="connsiteX3" fmla="*/ 31099 w 2317750"/>
                  <a:gd name="connsiteY3" fmla="*/ 95672 h 95672"/>
                </a:gdLst>
                <a:ahLst/>
                <a:cxnLst>
                  <a:cxn ang="0">
                    <a:pos x="connsiteX0" y="connsiteY0"/>
                  </a:cxn>
                  <a:cxn ang="0">
                    <a:pos x="connsiteX1" y="connsiteY1"/>
                  </a:cxn>
                  <a:cxn ang="0">
                    <a:pos x="connsiteX2" y="connsiteY2"/>
                  </a:cxn>
                  <a:cxn ang="0">
                    <a:pos x="connsiteX3" y="connsiteY3"/>
                  </a:cxn>
                </a:cxnLst>
                <a:rect l="l" t="t" r="r" b="b"/>
                <a:pathLst>
                  <a:path w="2317750" h="95672">
                    <a:moveTo>
                      <a:pt x="0" y="0"/>
                    </a:moveTo>
                    <a:lnTo>
                      <a:pt x="2317750" y="0"/>
                    </a:lnTo>
                    <a:lnTo>
                      <a:pt x="2286651" y="95672"/>
                    </a:lnTo>
                    <a:lnTo>
                      <a:pt x="31099" y="95672"/>
                    </a:lnTo>
                    <a:close/>
                  </a:path>
                </a:pathLst>
              </a:custGeom>
              <a:solidFill>
                <a:schemeClr val="accent3"/>
              </a:solidFill>
              <a:ln w="15875" cap="flat">
                <a:solidFill>
                  <a:schemeClr val="accent3"/>
                </a:solidFill>
                <a:prstDash val="solid"/>
                <a:miter lim="800000"/>
                <a:headEnd/>
                <a:tailEnd/>
              </a:ln>
            </p:spPr>
            <p:txBody>
              <a:bodyPr vert="horz" wrap="square" lIns="74276" tIns="37138" rIns="74276" bIns="37138" numCol="1" anchor="ctr" anchorCtr="0" compatLnSpc="1">
                <a:prstTxWarp prst="textNoShape">
                  <a:avLst/>
                </a:prstTxWarp>
                <a:noAutofit/>
              </a:bodyPr>
              <a:lstStyle/>
              <a:p>
                <a:pPr algn="ctr"/>
                <a:endParaRPr lang="en-AU" sz="1100">
                  <a:solidFill>
                    <a:schemeClr val="bg2"/>
                  </a:solidFill>
                  <a:latin typeface="Segoe UI Semibold" panose="020B0702040204020203" pitchFamily="34" charset="0"/>
                  <a:ea typeface="Segoe UI" panose="020B0502040204020203" pitchFamily="34" charset="0"/>
                  <a:cs typeface="Segoe UI" panose="020B0502040204020203" pitchFamily="34" charset="0"/>
                </a:endParaRPr>
              </a:p>
            </p:txBody>
          </p:sp>
        </p:grpSp>
        <p:grpSp>
          <p:nvGrpSpPr>
            <p:cNvPr id="17" name="Group 16">
              <a:extLst>
                <a:ext uri="{FF2B5EF4-FFF2-40B4-BE49-F238E27FC236}">
                  <a16:creationId xmlns:a16="http://schemas.microsoft.com/office/drawing/2014/main" id="{997E32DB-B5A5-19CB-827A-67989BC83D84}"/>
                </a:ext>
              </a:extLst>
            </p:cNvPr>
            <p:cNvGrpSpPr/>
            <p:nvPr/>
          </p:nvGrpSpPr>
          <p:grpSpPr>
            <a:xfrm>
              <a:off x="4068283" y="2617932"/>
              <a:ext cx="1763430" cy="513656"/>
              <a:chOff x="6281535" y="1573212"/>
              <a:chExt cx="1690688" cy="630000"/>
            </a:xfrm>
          </p:grpSpPr>
          <p:sp>
            <p:nvSpPr>
              <p:cNvPr id="18" name="Freeform 30">
                <a:extLst>
                  <a:ext uri="{FF2B5EF4-FFF2-40B4-BE49-F238E27FC236}">
                    <a16:creationId xmlns:a16="http://schemas.microsoft.com/office/drawing/2014/main" id="{410EF50E-2E3A-8BFF-510C-BFA7A9F187D6}"/>
                  </a:ext>
                </a:extLst>
              </p:cNvPr>
              <p:cNvSpPr>
                <a:spLocks/>
              </p:cNvSpPr>
              <p:nvPr/>
            </p:nvSpPr>
            <p:spPr bwMode="auto">
              <a:xfrm rot="10800000" flipV="1">
                <a:off x="6281536" y="1573212"/>
                <a:ext cx="1690687" cy="630000"/>
              </a:xfrm>
              <a:custGeom>
                <a:avLst/>
                <a:gdLst>
                  <a:gd name="T0" fmla="*/ 939 w 1065"/>
                  <a:gd name="T1" fmla="*/ 0 h 390"/>
                  <a:gd name="T2" fmla="*/ 127 w 1065"/>
                  <a:gd name="T3" fmla="*/ 0 h 390"/>
                  <a:gd name="T4" fmla="*/ 0 w 1065"/>
                  <a:gd name="T5" fmla="*/ 390 h 390"/>
                  <a:gd name="T6" fmla="*/ 1065 w 1065"/>
                  <a:gd name="T7" fmla="*/ 390 h 390"/>
                  <a:gd name="T8" fmla="*/ 939 w 1065"/>
                  <a:gd name="T9" fmla="*/ 0 h 390"/>
                </a:gdLst>
                <a:ahLst/>
                <a:cxnLst>
                  <a:cxn ang="0">
                    <a:pos x="T0" y="T1"/>
                  </a:cxn>
                  <a:cxn ang="0">
                    <a:pos x="T2" y="T3"/>
                  </a:cxn>
                  <a:cxn ang="0">
                    <a:pos x="T4" y="T5"/>
                  </a:cxn>
                  <a:cxn ang="0">
                    <a:pos x="T6" y="T7"/>
                  </a:cxn>
                  <a:cxn ang="0">
                    <a:pos x="T8" y="T9"/>
                  </a:cxn>
                </a:cxnLst>
                <a:rect l="0" t="0" r="r" b="b"/>
                <a:pathLst>
                  <a:path w="1065" h="390">
                    <a:moveTo>
                      <a:pt x="939" y="0"/>
                    </a:moveTo>
                    <a:lnTo>
                      <a:pt x="127" y="0"/>
                    </a:lnTo>
                    <a:lnTo>
                      <a:pt x="0" y="390"/>
                    </a:lnTo>
                    <a:lnTo>
                      <a:pt x="1065" y="390"/>
                    </a:lnTo>
                    <a:lnTo>
                      <a:pt x="939" y="0"/>
                    </a:lnTo>
                    <a:close/>
                  </a:path>
                </a:pathLst>
              </a:custGeom>
              <a:solidFill>
                <a:schemeClr val="bg1"/>
              </a:solidFill>
              <a:ln w="19050" cap="flat">
                <a:solidFill>
                  <a:schemeClr val="accent2"/>
                </a:solidFill>
                <a:prstDash val="solid"/>
                <a:miter lim="800000"/>
                <a:headEnd/>
                <a:tailEnd/>
              </a:ln>
            </p:spPr>
            <p:txBody>
              <a:bodyPr vert="horz" wrap="square" lIns="74276" tIns="0" rIns="74276" bIns="58485" numCol="1" anchor="ctr" anchorCtr="0" compatLnSpc="1">
                <a:prstTxWarp prst="textNoShape">
                  <a:avLst/>
                </a:prstTxWarp>
              </a:bodyPr>
              <a:lstStyle/>
              <a:p>
                <a:pPr algn="ctr" defTabSz="742726">
                  <a:defRPr/>
                </a:pPr>
                <a:r>
                  <a:rPr lang="en-AU" sz="1100">
                    <a:solidFill>
                      <a:srgbClr val="00264D"/>
                    </a:solidFill>
                    <a:latin typeface="Segoe UI Semibold"/>
                  </a:rPr>
                  <a:t>DAILY PROCESSES</a:t>
                </a:r>
              </a:p>
            </p:txBody>
          </p:sp>
          <p:sp>
            <p:nvSpPr>
              <p:cNvPr id="19" name="Freeform: Shape 18">
                <a:extLst>
                  <a:ext uri="{FF2B5EF4-FFF2-40B4-BE49-F238E27FC236}">
                    <a16:creationId xmlns:a16="http://schemas.microsoft.com/office/drawing/2014/main" id="{88333EDC-5553-013F-2E95-63592AEF1CF4}"/>
                  </a:ext>
                </a:extLst>
              </p:cNvPr>
              <p:cNvSpPr>
                <a:spLocks/>
              </p:cNvSpPr>
              <p:nvPr/>
            </p:nvSpPr>
            <p:spPr bwMode="auto">
              <a:xfrm rot="10800000">
                <a:off x="6281535" y="2113212"/>
                <a:ext cx="1690687" cy="90000"/>
              </a:xfrm>
              <a:custGeom>
                <a:avLst/>
                <a:gdLst>
                  <a:gd name="connsiteX0" fmla="*/ 0 w 1690687"/>
                  <a:gd name="connsiteY0" fmla="*/ 0 h 95672"/>
                  <a:gd name="connsiteX1" fmla="*/ 1690687 w 1690687"/>
                  <a:gd name="connsiteY1" fmla="*/ 0 h 95672"/>
                  <a:gd name="connsiteX2" fmla="*/ 1660311 w 1690687"/>
                  <a:gd name="connsiteY2" fmla="*/ 95672 h 95672"/>
                  <a:gd name="connsiteX3" fmla="*/ 30617 w 1690687"/>
                  <a:gd name="connsiteY3" fmla="*/ 95672 h 95672"/>
                </a:gdLst>
                <a:ahLst/>
                <a:cxnLst>
                  <a:cxn ang="0">
                    <a:pos x="connsiteX0" y="connsiteY0"/>
                  </a:cxn>
                  <a:cxn ang="0">
                    <a:pos x="connsiteX1" y="connsiteY1"/>
                  </a:cxn>
                  <a:cxn ang="0">
                    <a:pos x="connsiteX2" y="connsiteY2"/>
                  </a:cxn>
                  <a:cxn ang="0">
                    <a:pos x="connsiteX3" y="connsiteY3"/>
                  </a:cxn>
                </a:cxnLst>
                <a:rect l="l" t="t" r="r" b="b"/>
                <a:pathLst>
                  <a:path w="1690687" h="95672">
                    <a:moveTo>
                      <a:pt x="0" y="0"/>
                    </a:moveTo>
                    <a:lnTo>
                      <a:pt x="1690687" y="0"/>
                    </a:lnTo>
                    <a:lnTo>
                      <a:pt x="1660311" y="95672"/>
                    </a:lnTo>
                    <a:lnTo>
                      <a:pt x="30617" y="95672"/>
                    </a:lnTo>
                    <a:close/>
                  </a:path>
                </a:pathLst>
              </a:custGeom>
              <a:solidFill>
                <a:schemeClr val="accent2"/>
              </a:solidFill>
              <a:ln w="15875" cap="flat">
                <a:solidFill>
                  <a:schemeClr val="accent2"/>
                </a:solidFill>
                <a:prstDash val="solid"/>
                <a:miter lim="800000"/>
                <a:headEnd/>
                <a:tailEnd/>
              </a:ln>
            </p:spPr>
            <p:txBody>
              <a:bodyPr vert="horz" wrap="square" lIns="74276" tIns="37138" rIns="74276" bIns="37138" numCol="1" anchor="ctr" anchorCtr="0" compatLnSpc="1">
                <a:prstTxWarp prst="textNoShape">
                  <a:avLst/>
                </a:prstTxWarp>
                <a:noAutofit/>
              </a:bodyPr>
              <a:lstStyle/>
              <a:p>
                <a:pPr algn="ctr"/>
                <a:endParaRPr lang="en-AU" sz="1100">
                  <a:solidFill>
                    <a:schemeClr val="bg2"/>
                  </a:solidFill>
                  <a:latin typeface="Segoe UI Semibold" panose="020B0702040204020203" pitchFamily="34" charset="0"/>
                  <a:ea typeface="Segoe UI" panose="020B0502040204020203" pitchFamily="34" charset="0"/>
                  <a:cs typeface="Segoe UI" panose="020B0502040204020203" pitchFamily="34" charset="0"/>
                </a:endParaRPr>
              </a:p>
            </p:txBody>
          </p:sp>
        </p:grpSp>
        <p:sp>
          <p:nvSpPr>
            <p:cNvPr id="34" name="Rectangle 33">
              <a:extLst>
                <a:ext uri="{FF2B5EF4-FFF2-40B4-BE49-F238E27FC236}">
                  <a16:creationId xmlns:a16="http://schemas.microsoft.com/office/drawing/2014/main" id="{E7A62575-D141-CCE1-DD8B-234B0180E6AB}"/>
                </a:ext>
              </a:extLst>
            </p:cNvPr>
            <p:cNvSpPr/>
            <p:nvPr/>
          </p:nvSpPr>
          <p:spPr>
            <a:xfrm>
              <a:off x="538188" y="2183615"/>
              <a:ext cx="2943437" cy="1385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44"/>
                </a:spcBef>
              </a:pPr>
              <a:r>
                <a:rPr lang="en-AU" sz="1050" b="1" dirty="0">
                  <a:solidFill>
                    <a:schemeClr val="tx2"/>
                  </a:solidFill>
                </a:rPr>
                <a:t>Day to day processes</a:t>
              </a:r>
            </a:p>
            <a:p>
              <a:pPr marL="171450" indent="-171450">
                <a:spcBef>
                  <a:spcPts val="244"/>
                </a:spcBef>
                <a:buFont typeface="Arial" panose="020B0604020202020204" pitchFamily="34" charset="0"/>
                <a:buChar char="•"/>
              </a:pPr>
              <a:r>
                <a:rPr lang="en-AU" sz="1050" dirty="0">
                  <a:solidFill>
                    <a:schemeClr val="tx2"/>
                  </a:solidFill>
                </a:rPr>
                <a:t>How effectively can employees collaborate with colleagues across teams?</a:t>
              </a:r>
            </a:p>
            <a:p>
              <a:pPr marL="171450" indent="-171450">
                <a:spcBef>
                  <a:spcPts val="244"/>
                </a:spcBef>
                <a:buFont typeface="Arial" panose="020B0604020202020204" pitchFamily="34" charset="0"/>
                <a:buChar char="•"/>
              </a:pPr>
              <a:r>
                <a:rPr lang="en-AU" sz="1050" dirty="0">
                  <a:solidFill>
                    <a:schemeClr val="tx2"/>
                  </a:solidFill>
                </a:rPr>
                <a:t>Can employees readily access all necessary documents and information to perform their roles?</a:t>
              </a:r>
            </a:p>
            <a:p>
              <a:pPr>
                <a:spcBef>
                  <a:spcPts val="244"/>
                </a:spcBef>
              </a:pPr>
              <a:endParaRPr lang="en-AU" sz="1050" b="1" dirty="0">
                <a:solidFill>
                  <a:schemeClr val="tx2"/>
                </a:solidFill>
              </a:endParaRPr>
            </a:p>
          </p:txBody>
        </p:sp>
        <p:sp>
          <p:nvSpPr>
            <p:cNvPr id="35" name="Rectangle 34">
              <a:extLst>
                <a:ext uri="{FF2B5EF4-FFF2-40B4-BE49-F238E27FC236}">
                  <a16:creationId xmlns:a16="http://schemas.microsoft.com/office/drawing/2014/main" id="{B59FEA33-8FAA-0F8E-C4EB-CE0A4CDA3E3D}"/>
                </a:ext>
              </a:extLst>
            </p:cNvPr>
            <p:cNvSpPr/>
            <p:nvPr/>
          </p:nvSpPr>
          <p:spPr>
            <a:xfrm>
              <a:off x="539997" y="3775232"/>
              <a:ext cx="2336377" cy="2378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44"/>
                </a:spcBef>
              </a:pPr>
              <a:r>
                <a:rPr lang="en-AU" sz="1050" b="1">
                  <a:solidFill>
                    <a:schemeClr val="tx2"/>
                  </a:solidFill>
                </a:rPr>
                <a:t>Information management and governance </a:t>
              </a:r>
            </a:p>
            <a:p>
              <a:pPr marL="171450" indent="-171450">
                <a:spcBef>
                  <a:spcPts val="244"/>
                </a:spcBef>
                <a:buFont typeface="Arial" panose="020B0604020202020204" pitchFamily="34" charset="0"/>
                <a:buChar char="•"/>
              </a:pPr>
              <a:r>
                <a:rPr lang="en-AU" sz="1050">
                  <a:solidFill>
                    <a:schemeClr val="tx2"/>
                  </a:solidFill>
                </a:rPr>
                <a:t>Are governance frameworks and policies well-defined and well-understood by employees?</a:t>
              </a:r>
            </a:p>
            <a:p>
              <a:pPr marL="171450" indent="-171450">
                <a:spcBef>
                  <a:spcPts val="244"/>
                </a:spcBef>
                <a:buFont typeface="Arial" panose="020B0604020202020204" pitchFamily="34" charset="0"/>
                <a:buChar char="•"/>
              </a:pPr>
              <a:r>
                <a:rPr lang="en-AU" sz="1050">
                  <a:solidFill>
                    <a:schemeClr val="tx2"/>
                  </a:solidFill>
                </a:rPr>
                <a:t>Is information managed in compliance with legislative, privacy and security requirements and protocols relating to data collection, storage, access, protection and retention?</a:t>
              </a:r>
            </a:p>
          </p:txBody>
        </p:sp>
        <p:sp>
          <p:nvSpPr>
            <p:cNvPr id="36" name="Rectangle 35">
              <a:extLst>
                <a:ext uri="{FF2B5EF4-FFF2-40B4-BE49-F238E27FC236}">
                  <a16:creationId xmlns:a16="http://schemas.microsoft.com/office/drawing/2014/main" id="{7DE378FA-7E4C-12D4-713A-2EB2BDB2B977}"/>
                </a:ext>
              </a:extLst>
            </p:cNvPr>
            <p:cNvSpPr/>
            <p:nvPr/>
          </p:nvSpPr>
          <p:spPr>
            <a:xfrm>
              <a:off x="6464071" y="2183615"/>
              <a:ext cx="2943437" cy="1813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4276" tIns="37138" rIns="74276" bIns="37138" rtlCol="0" anchor="t"/>
            <a:lstStyle/>
            <a:p>
              <a:pPr>
                <a:spcBef>
                  <a:spcPts val="244"/>
                </a:spcBef>
              </a:pPr>
              <a:r>
                <a:rPr lang="en-AU" sz="1050" b="1" dirty="0">
                  <a:solidFill>
                    <a:schemeClr val="tx2"/>
                  </a:solidFill>
                </a:rPr>
                <a:t>Information processes</a:t>
              </a:r>
            </a:p>
            <a:p>
              <a:pPr marL="171450" indent="-171450">
                <a:spcBef>
                  <a:spcPts val="244"/>
                </a:spcBef>
                <a:buFont typeface="Arial" panose="020B0604020202020204" pitchFamily="34" charset="0"/>
                <a:buChar char="•"/>
              </a:pPr>
              <a:r>
                <a:rPr lang="en-AU" sz="1050" dirty="0">
                  <a:solidFill>
                    <a:schemeClr val="tx2"/>
                  </a:solidFill>
                </a:rPr>
                <a:t>Is information organised in a logical and consistent way across the entire organisation?</a:t>
              </a:r>
            </a:p>
            <a:p>
              <a:pPr marL="171450" indent="-171450">
                <a:spcBef>
                  <a:spcPts val="244"/>
                </a:spcBef>
                <a:buFont typeface="Arial" panose="020B0604020202020204" pitchFamily="34" charset="0"/>
                <a:buChar char="•"/>
              </a:pPr>
              <a:r>
                <a:rPr lang="en-AU" sz="1050">
                  <a:solidFill>
                    <a:schemeClr val="tx2"/>
                  </a:solidFill>
                </a:rPr>
                <a:t>Do employees have clear guidance for document creation, editing, sharing, and approval?</a:t>
              </a:r>
            </a:p>
            <a:p>
              <a:pPr marL="171450" indent="-171450">
                <a:spcBef>
                  <a:spcPts val="244"/>
                </a:spcBef>
                <a:buFont typeface="Arial" panose="020B0604020202020204" pitchFamily="34" charset="0"/>
                <a:buChar char="•"/>
              </a:pPr>
              <a:r>
                <a:rPr lang="en-AU" sz="1050" dirty="0">
                  <a:solidFill>
                    <a:schemeClr val="tx2"/>
                  </a:solidFill>
                </a:rPr>
                <a:t>Are metadata tags or other measures used to enable convenient document retrieval?</a:t>
              </a:r>
              <a:endParaRPr lang="en-AU" sz="1050" dirty="0">
                <a:solidFill>
                  <a:schemeClr val="tx2"/>
                </a:solidFill>
                <a:cs typeface="Segoe UI"/>
              </a:endParaRPr>
            </a:p>
            <a:p>
              <a:pPr>
                <a:spcBef>
                  <a:spcPts val="244"/>
                </a:spcBef>
              </a:pPr>
              <a:endParaRPr lang="en-AU" sz="1050" b="1" dirty="0">
                <a:solidFill>
                  <a:schemeClr val="tx2"/>
                </a:solidFill>
              </a:endParaRPr>
            </a:p>
          </p:txBody>
        </p:sp>
        <p:sp>
          <p:nvSpPr>
            <p:cNvPr id="39" name="Rectangle 38">
              <a:extLst>
                <a:ext uri="{FF2B5EF4-FFF2-40B4-BE49-F238E27FC236}">
                  <a16:creationId xmlns:a16="http://schemas.microsoft.com/office/drawing/2014/main" id="{E378804B-F9D7-3C3C-7D7A-02C9821E5848}"/>
                </a:ext>
              </a:extLst>
            </p:cNvPr>
            <p:cNvSpPr/>
            <p:nvPr/>
          </p:nvSpPr>
          <p:spPr>
            <a:xfrm>
              <a:off x="7072939" y="4083862"/>
              <a:ext cx="2336377" cy="2069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244"/>
                </a:spcBef>
              </a:pPr>
              <a:r>
                <a:rPr lang="en-AU" sz="1050" b="1">
                  <a:solidFill>
                    <a:schemeClr val="tx2"/>
                  </a:solidFill>
                </a:rPr>
                <a:t>Information systems and technology</a:t>
              </a:r>
            </a:p>
            <a:p>
              <a:pPr marL="171450" indent="-171450">
                <a:spcBef>
                  <a:spcPts val="244"/>
                </a:spcBef>
                <a:buFont typeface="Arial" panose="020B0604020202020204" pitchFamily="34" charset="0"/>
                <a:buChar char="•"/>
              </a:pPr>
              <a:r>
                <a:rPr lang="en-AU" sz="1050">
                  <a:solidFill>
                    <a:schemeClr val="tx2"/>
                  </a:solidFill>
                </a:rPr>
                <a:t>Are information systems built on robust and scalable infrastructure that is secure?</a:t>
              </a:r>
            </a:p>
            <a:p>
              <a:pPr marL="171450" indent="-171450">
                <a:spcBef>
                  <a:spcPts val="244"/>
                </a:spcBef>
                <a:buFont typeface="Arial" panose="020B0604020202020204" pitchFamily="34" charset="0"/>
                <a:buChar char="•"/>
              </a:pPr>
              <a:r>
                <a:rPr lang="en-AU" sz="1050">
                  <a:solidFill>
                    <a:schemeClr val="tx2"/>
                  </a:solidFill>
                </a:rPr>
                <a:t>Do current systems enable the adoption of future and emerging technologies?</a:t>
              </a:r>
            </a:p>
            <a:p>
              <a:pPr marL="171450" indent="-171450">
                <a:spcBef>
                  <a:spcPts val="244"/>
                </a:spcBef>
                <a:buFont typeface="Arial" panose="020B0604020202020204" pitchFamily="34" charset="0"/>
                <a:buChar char="•"/>
              </a:pPr>
              <a:r>
                <a:rPr lang="en-AU" sz="1050">
                  <a:solidFill>
                    <a:schemeClr val="tx2"/>
                  </a:solidFill>
                </a:rPr>
                <a:t>Are information systems integrated with other systems and technologies across the organisation?</a:t>
              </a:r>
              <a:endParaRPr lang="en-AU" sz="1050" b="1">
                <a:solidFill>
                  <a:schemeClr val="tx2"/>
                </a:solidFill>
              </a:endParaRPr>
            </a:p>
          </p:txBody>
        </p:sp>
        <p:cxnSp>
          <p:nvCxnSpPr>
            <p:cNvPr id="40" name="Straight Connector 39">
              <a:extLst>
                <a:ext uri="{FF2B5EF4-FFF2-40B4-BE49-F238E27FC236}">
                  <a16:creationId xmlns:a16="http://schemas.microsoft.com/office/drawing/2014/main" id="{DDC915AB-104B-1D76-EB7C-EF1CFB218D8B}"/>
                </a:ext>
              </a:extLst>
            </p:cNvPr>
            <p:cNvCxnSpPr>
              <a:cxnSpLocks/>
            </p:cNvCxnSpPr>
            <p:nvPr/>
          </p:nvCxnSpPr>
          <p:spPr>
            <a:xfrm flipH="1">
              <a:off x="3485242" y="2841059"/>
              <a:ext cx="714190" cy="0"/>
            </a:xfrm>
            <a:prstGeom prst="line">
              <a:avLst/>
            </a:prstGeom>
            <a:ln w="53975">
              <a:solidFill>
                <a:schemeClr val="accent2"/>
              </a:solidFill>
              <a:headEnd type="oval"/>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26D9B-05A7-8431-4B94-663063A36E68}"/>
                </a:ext>
              </a:extLst>
            </p:cNvPr>
            <p:cNvCxnSpPr>
              <a:cxnSpLocks/>
            </p:cNvCxnSpPr>
            <p:nvPr/>
          </p:nvCxnSpPr>
          <p:spPr>
            <a:xfrm>
              <a:off x="6003949" y="3584461"/>
              <a:ext cx="476011" cy="0"/>
            </a:xfrm>
            <a:prstGeom prst="line">
              <a:avLst/>
            </a:prstGeom>
            <a:ln w="53975">
              <a:solidFill>
                <a:schemeClr val="accent3"/>
              </a:solidFill>
              <a:headEnd type="oval"/>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675F959-1E8F-CF08-F6D6-98E6DD7AF997}"/>
                </a:ext>
              </a:extLst>
            </p:cNvPr>
            <p:cNvCxnSpPr>
              <a:cxnSpLocks/>
            </p:cNvCxnSpPr>
            <p:nvPr/>
          </p:nvCxnSpPr>
          <p:spPr>
            <a:xfrm flipH="1">
              <a:off x="2878183" y="4441319"/>
              <a:ext cx="665385" cy="0"/>
            </a:xfrm>
            <a:prstGeom prst="line">
              <a:avLst/>
            </a:prstGeom>
            <a:ln w="53975">
              <a:solidFill>
                <a:schemeClr val="accent5"/>
              </a:solidFill>
              <a:headEnd type="oval"/>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4CBD9CA-92F7-674F-0009-6DF6B1A4379A}"/>
                </a:ext>
              </a:extLst>
            </p:cNvPr>
            <p:cNvCxnSpPr>
              <a:cxnSpLocks/>
            </p:cNvCxnSpPr>
            <p:nvPr/>
          </p:nvCxnSpPr>
          <p:spPr>
            <a:xfrm>
              <a:off x="6684810" y="5230498"/>
              <a:ext cx="388129" cy="0"/>
            </a:xfrm>
            <a:prstGeom prst="line">
              <a:avLst/>
            </a:prstGeom>
            <a:ln w="53975">
              <a:solidFill>
                <a:schemeClr val="tx2"/>
              </a:solidFill>
              <a:headEnd type="oval"/>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74022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2F134F0-A1BF-0E34-9B0D-506C8D9B51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92F134F0-A1BF-0E34-9B0D-506C8D9B5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7" name="Rectangle 66">
            <a:extLst>
              <a:ext uri="{FF2B5EF4-FFF2-40B4-BE49-F238E27FC236}">
                <a16:creationId xmlns:a16="http://schemas.microsoft.com/office/drawing/2014/main" id="{800F51D6-CA61-A0A1-3794-7E280C4D7407}"/>
              </a:ext>
            </a:extLst>
          </p:cNvPr>
          <p:cNvSpPr/>
          <p:nvPr/>
        </p:nvSpPr>
        <p:spPr>
          <a:xfrm>
            <a:off x="535723" y="1212945"/>
            <a:ext cx="8805446" cy="826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t" anchorCtr="0"/>
          <a:lstStyle/>
          <a:p>
            <a:pPr>
              <a:spcAft>
                <a:spcPts val="600"/>
              </a:spcAft>
            </a:pPr>
            <a:r>
              <a:rPr lang="en-AU" sz="1200">
                <a:solidFill>
                  <a:schemeClr val="tx1"/>
                </a:solidFill>
              </a:rPr>
              <a:t>The following principles have been identified to support the development of proposed future state structures. While not a comprehensive set, aligning with these principles will ensure you can design a future information structure that meets the needs of employees, while ensuring adherence to legislative, operational, and security requirements.</a:t>
            </a:r>
          </a:p>
        </p:txBody>
      </p:sp>
      <p:sp>
        <p:nvSpPr>
          <p:cNvPr id="3" name="Title 2">
            <a:extLst>
              <a:ext uri="{FF2B5EF4-FFF2-40B4-BE49-F238E27FC236}">
                <a16:creationId xmlns:a16="http://schemas.microsoft.com/office/drawing/2014/main" id="{140EC108-D5C9-3E4E-4D9B-4F09A8C4F2B4}"/>
              </a:ext>
            </a:extLst>
          </p:cNvPr>
          <p:cNvSpPr>
            <a:spLocks noGrp="1"/>
          </p:cNvSpPr>
          <p:nvPr>
            <p:ph type="title"/>
          </p:nvPr>
        </p:nvSpPr>
        <p:spPr>
          <a:xfrm>
            <a:off x="539999" y="541756"/>
            <a:ext cx="8820000" cy="348543"/>
          </a:xfrm>
        </p:spPr>
        <p:txBody>
          <a:bodyPr vert="horz"/>
          <a:lstStyle/>
          <a:p>
            <a:r>
              <a:rPr lang="en-AU"/>
              <a:t>Use better practice design principles to inform your future structure</a:t>
            </a:r>
          </a:p>
        </p:txBody>
      </p:sp>
      <p:grpSp>
        <p:nvGrpSpPr>
          <p:cNvPr id="16" name="Group 15">
            <a:extLst>
              <a:ext uri="{FF2B5EF4-FFF2-40B4-BE49-F238E27FC236}">
                <a16:creationId xmlns:a16="http://schemas.microsoft.com/office/drawing/2014/main" id="{7A1D2D98-F35A-9CAD-BFE3-E5262A316622}"/>
              </a:ext>
            </a:extLst>
          </p:cNvPr>
          <p:cNvGrpSpPr/>
          <p:nvPr/>
        </p:nvGrpSpPr>
        <p:grpSpPr>
          <a:xfrm>
            <a:off x="535723" y="2379374"/>
            <a:ext cx="4312752" cy="1188000"/>
            <a:chOff x="535723" y="2379374"/>
            <a:chExt cx="4312752" cy="1188000"/>
          </a:xfrm>
        </p:grpSpPr>
        <p:sp>
          <p:nvSpPr>
            <p:cNvPr id="8" name="Rectangle 7">
              <a:extLst>
                <a:ext uri="{FF2B5EF4-FFF2-40B4-BE49-F238E27FC236}">
                  <a16:creationId xmlns:a16="http://schemas.microsoft.com/office/drawing/2014/main" id="{DEEA9E97-4C44-C8CC-FE38-E204C68C9355}"/>
                </a:ext>
              </a:extLst>
            </p:cNvPr>
            <p:cNvSpPr/>
            <p:nvPr/>
          </p:nvSpPr>
          <p:spPr>
            <a:xfrm>
              <a:off x="539999" y="2379374"/>
              <a:ext cx="4308476" cy="1188000"/>
            </a:xfrm>
            <a:prstGeom prst="rect">
              <a:avLst/>
            </a:prstGeom>
            <a:ln>
              <a:noFill/>
            </a:ln>
          </p:spPr>
          <p:style>
            <a:lnRef idx="2">
              <a:schemeClr val="accent3"/>
            </a:lnRef>
            <a:fillRef idx="1">
              <a:schemeClr val="lt1"/>
            </a:fillRef>
            <a:effectRef idx="0">
              <a:schemeClr val="accent3"/>
            </a:effectRef>
            <a:fontRef idx="minor">
              <a:schemeClr val="dk1"/>
            </a:fontRef>
          </p:style>
          <p:txBody>
            <a:bodyPr lIns="540000" rIns="36000" rtlCol="0" anchor="ctr"/>
            <a:lstStyle/>
            <a:p>
              <a:r>
                <a:rPr lang="en-AU" sz="1100" b="1" dirty="0">
                  <a:solidFill>
                    <a:srgbClr val="187094"/>
                  </a:solidFill>
                </a:rPr>
                <a:t>Accessibility and collaboration</a:t>
              </a:r>
            </a:p>
            <a:p>
              <a:r>
                <a:rPr lang="en-AU" sz="1050" dirty="0"/>
                <a:t>Employees should be able to easily find and access all the files they need. File structures across all site-collections and libraries should be intuitive to navigate and accessible. Consider whether all files should be open by default.</a:t>
              </a:r>
            </a:p>
          </p:txBody>
        </p:sp>
        <p:sp>
          <p:nvSpPr>
            <p:cNvPr id="35" name="Isosceles Triangle 34">
              <a:extLst>
                <a:ext uri="{FF2B5EF4-FFF2-40B4-BE49-F238E27FC236}">
                  <a16:creationId xmlns:a16="http://schemas.microsoft.com/office/drawing/2014/main" id="{72388A26-B344-5CD6-7D78-3526AFB2B9DD}"/>
                </a:ext>
              </a:extLst>
            </p:cNvPr>
            <p:cNvSpPr/>
            <p:nvPr/>
          </p:nvSpPr>
          <p:spPr>
            <a:xfrm rot="5400000">
              <a:off x="457517" y="2457581"/>
              <a:ext cx="612000" cy="455588"/>
            </a:xfrm>
            <a:prstGeom prst="triangle">
              <a:avLst/>
            </a:prstGeom>
            <a:solidFill>
              <a:srgbClr val="18709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44000" rtlCol="0" anchor="ctr"/>
            <a:lstStyle/>
            <a:p>
              <a:pPr algn="ctr"/>
              <a:r>
                <a:rPr lang="en-AU" sz="1400" b="1">
                  <a:solidFill>
                    <a:schemeClr val="bg1"/>
                  </a:solidFill>
                </a:rPr>
                <a:t>1</a:t>
              </a:r>
            </a:p>
          </p:txBody>
        </p:sp>
      </p:grpSp>
      <p:grpSp>
        <p:nvGrpSpPr>
          <p:cNvPr id="15" name="Group 14">
            <a:extLst>
              <a:ext uri="{FF2B5EF4-FFF2-40B4-BE49-F238E27FC236}">
                <a16:creationId xmlns:a16="http://schemas.microsoft.com/office/drawing/2014/main" id="{05BDE9E4-AC1A-435E-ED44-47DBCDC0E390}"/>
              </a:ext>
            </a:extLst>
          </p:cNvPr>
          <p:cNvGrpSpPr/>
          <p:nvPr/>
        </p:nvGrpSpPr>
        <p:grpSpPr>
          <a:xfrm>
            <a:off x="5051523" y="2379374"/>
            <a:ext cx="4308476" cy="1188000"/>
            <a:chOff x="5051523" y="2379374"/>
            <a:chExt cx="4308476" cy="1188000"/>
          </a:xfrm>
        </p:grpSpPr>
        <p:sp>
          <p:nvSpPr>
            <p:cNvPr id="9" name="Rectangle 8">
              <a:extLst>
                <a:ext uri="{FF2B5EF4-FFF2-40B4-BE49-F238E27FC236}">
                  <a16:creationId xmlns:a16="http://schemas.microsoft.com/office/drawing/2014/main" id="{21908228-9DBE-7E05-4353-04EC9B209AC0}"/>
                </a:ext>
              </a:extLst>
            </p:cNvPr>
            <p:cNvSpPr/>
            <p:nvPr/>
          </p:nvSpPr>
          <p:spPr>
            <a:xfrm>
              <a:off x="5051523" y="2379374"/>
              <a:ext cx="4308476" cy="1188000"/>
            </a:xfrm>
            <a:prstGeom prst="rect">
              <a:avLst/>
            </a:prstGeom>
            <a:ln>
              <a:noFill/>
            </a:ln>
          </p:spPr>
          <p:style>
            <a:lnRef idx="2">
              <a:schemeClr val="accent3"/>
            </a:lnRef>
            <a:fillRef idx="1">
              <a:schemeClr val="lt1"/>
            </a:fillRef>
            <a:effectRef idx="0">
              <a:schemeClr val="accent3"/>
            </a:effectRef>
            <a:fontRef idx="minor">
              <a:schemeClr val="dk1"/>
            </a:fontRef>
          </p:style>
          <p:txBody>
            <a:bodyPr lIns="540000" rIns="36000" rtlCol="0" anchor="ctr"/>
            <a:lstStyle/>
            <a:p>
              <a:r>
                <a:rPr lang="en-AU" sz="1100" b="1" dirty="0">
                  <a:solidFill>
                    <a:schemeClr val="accent2">
                      <a:lumMod val="75000"/>
                    </a:schemeClr>
                  </a:solidFill>
                </a:rPr>
                <a:t>Security and permissions</a:t>
              </a:r>
            </a:p>
            <a:p>
              <a:r>
                <a:rPr lang="en-AU" sz="1050" dirty="0"/>
                <a:t>Ensure the security of sensitive information. There should be clear guidelines for how permissions are managed, granted, and removed, and by whom. It is considered best practice to apply security permissions at a site-collection level (see Slide 6 </a:t>
              </a:r>
              <a:r>
                <a:rPr lang="en-AU" sz="1050"/>
                <a:t>for further detail).</a:t>
              </a:r>
              <a:endParaRPr lang="en-AU" sz="1050" dirty="0"/>
            </a:p>
          </p:txBody>
        </p:sp>
        <p:sp>
          <p:nvSpPr>
            <p:cNvPr id="36" name="Isosceles Triangle 35">
              <a:extLst>
                <a:ext uri="{FF2B5EF4-FFF2-40B4-BE49-F238E27FC236}">
                  <a16:creationId xmlns:a16="http://schemas.microsoft.com/office/drawing/2014/main" id="{0C62D7C4-CE2E-6E4A-B1C2-8EB269A63DEA}"/>
                </a:ext>
              </a:extLst>
            </p:cNvPr>
            <p:cNvSpPr/>
            <p:nvPr/>
          </p:nvSpPr>
          <p:spPr>
            <a:xfrm rot="5400000">
              <a:off x="4973317" y="2457581"/>
              <a:ext cx="612000" cy="455588"/>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44000" rtlCol="0" anchor="ctr"/>
            <a:lstStyle/>
            <a:p>
              <a:pPr algn="ctr"/>
              <a:r>
                <a:rPr lang="en-AU" sz="1400" b="1">
                  <a:solidFill>
                    <a:schemeClr val="bg1"/>
                  </a:solidFill>
                </a:rPr>
                <a:t>2</a:t>
              </a:r>
            </a:p>
          </p:txBody>
        </p:sp>
      </p:grpSp>
      <p:grpSp>
        <p:nvGrpSpPr>
          <p:cNvPr id="17" name="Group 16">
            <a:extLst>
              <a:ext uri="{FF2B5EF4-FFF2-40B4-BE49-F238E27FC236}">
                <a16:creationId xmlns:a16="http://schemas.microsoft.com/office/drawing/2014/main" id="{005D1366-4113-57FB-46CE-446E33ECEA5A}"/>
              </a:ext>
            </a:extLst>
          </p:cNvPr>
          <p:cNvGrpSpPr/>
          <p:nvPr/>
        </p:nvGrpSpPr>
        <p:grpSpPr>
          <a:xfrm>
            <a:off x="535723" y="3666944"/>
            <a:ext cx="4312752" cy="1188000"/>
            <a:chOff x="535723" y="3625694"/>
            <a:chExt cx="4312752" cy="1188000"/>
          </a:xfrm>
        </p:grpSpPr>
        <p:sp>
          <p:nvSpPr>
            <p:cNvPr id="41" name="Rectangle 40">
              <a:extLst>
                <a:ext uri="{FF2B5EF4-FFF2-40B4-BE49-F238E27FC236}">
                  <a16:creationId xmlns:a16="http://schemas.microsoft.com/office/drawing/2014/main" id="{3CCB9DE4-D554-B42D-B673-6DA74BCAE57A}"/>
                </a:ext>
              </a:extLst>
            </p:cNvPr>
            <p:cNvSpPr/>
            <p:nvPr/>
          </p:nvSpPr>
          <p:spPr>
            <a:xfrm>
              <a:off x="539999" y="3625694"/>
              <a:ext cx="4308476" cy="1188000"/>
            </a:xfrm>
            <a:prstGeom prst="rect">
              <a:avLst/>
            </a:prstGeom>
            <a:ln>
              <a:noFill/>
            </a:ln>
          </p:spPr>
          <p:style>
            <a:lnRef idx="2">
              <a:schemeClr val="accent3"/>
            </a:lnRef>
            <a:fillRef idx="1">
              <a:schemeClr val="lt1"/>
            </a:fillRef>
            <a:effectRef idx="0">
              <a:schemeClr val="accent3"/>
            </a:effectRef>
            <a:fontRef idx="minor">
              <a:schemeClr val="dk1"/>
            </a:fontRef>
          </p:style>
          <p:txBody>
            <a:bodyPr lIns="540000" rIns="36000" rtlCol="0" anchor="ctr"/>
            <a:lstStyle/>
            <a:p>
              <a:r>
                <a:rPr lang="en-AU" sz="1100" b="1">
                  <a:solidFill>
                    <a:schemeClr val="accent2"/>
                  </a:solidFill>
                </a:rPr>
                <a:t>Data minimisation</a:t>
              </a:r>
            </a:p>
            <a:p>
              <a:r>
                <a:rPr lang="en-AU" sz="1050"/>
                <a:t>Only collect and store data necessary to conduct your key activities to deliver on your obligations. The organisation should continually evaluate what files are no longer required. Default retention labels should be applied at a library level, with variations at folder or file level, if required.</a:t>
              </a:r>
            </a:p>
          </p:txBody>
        </p:sp>
        <p:sp>
          <p:nvSpPr>
            <p:cNvPr id="43" name="Isosceles Triangle 42">
              <a:extLst>
                <a:ext uri="{FF2B5EF4-FFF2-40B4-BE49-F238E27FC236}">
                  <a16:creationId xmlns:a16="http://schemas.microsoft.com/office/drawing/2014/main" id="{2F548F59-7666-4810-3F26-72FD60861C1E}"/>
                </a:ext>
              </a:extLst>
            </p:cNvPr>
            <p:cNvSpPr/>
            <p:nvPr/>
          </p:nvSpPr>
          <p:spPr>
            <a:xfrm rot="5400000">
              <a:off x="457517" y="3703901"/>
              <a:ext cx="612000" cy="45558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44000" rtlCol="0" anchor="ctr"/>
            <a:lstStyle/>
            <a:p>
              <a:pPr algn="ctr"/>
              <a:r>
                <a:rPr lang="en-AU" sz="1400" b="1">
                  <a:solidFill>
                    <a:schemeClr val="bg1"/>
                  </a:solidFill>
                </a:rPr>
                <a:t>3</a:t>
              </a:r>
            </a:p>
          </p:txBody>
        </p:sp>
      </p:grpSp>
      <p:grpSp>
        <p:nvGrpSpPr>
          <p:cNvPr id="14" name="Group 13">
            <a:extLst>
              <a:ext uri="{FF2B5EF4-FFF2-40B4-BE49-F238E27FC236}">
                <a16:creationId xmlns:a16="http://schemas.microsoft.com/office/drawing/2014/main" id="{9FA7CE40-9B92-F878-5AC4-A5FF1DC99DB6}"/>
              </a:ext>
            </a:extLst>
          </p:cNvPr>
          <p:cNvGrpSpPr/>
          <p:nvPr/>
        </p:nvGrpSpPr>
        <p:grpSpPr>
          <a:xfrm>
            <a:off x="5051523" y="3666945"/>
            <a:ext cx="4308476" cy="1188000"/>
            <a:chOff x="5051523" y="3625694"/>
            <a:chExt cx="4308476" cy="1188000"/>
          </a:xfrm>
        </p:grpSpPr>
        <p:sp>
          <p:nvSpPr>
            <p:cNvPr id="42" name="Rectangle 41">
              <a:extLst>
                <a:ext uri="{FF2B5EF4-FFF2-40B4-BE49-F238E27FC236}">
                  <a16:creationId xmlns:a16="http://schemas.microsoft.com/office/drawing/2014/main" id="{DB9DA75B-C433-DBCE-3F27-A53F6BB69DD5}"/>
                </a:ext>
              </a:extLst>
            </p:cNvPr>
            <p:cNvSpPr/>
            <p:nvPr/>
          </p:nvSpPr>
          <p:spPr>
            <a:xfrm>
              <a:off x="5051523" y="3625694"/>
              <a:ext cx="4308476" cy="1188000"/>
            </a:xfrm>
            <a:prstGeom prst="rect">
              <a:avLst/>
            </a:prstGeom>
            <a:ln>
              <a:noFill/>
            </a:ln>
          </p:spPr>
          <p:style>
            <a:lnRef idx="2">
              <a:schemeClr val="accent3"/>
            </a:lnRef>
            <a:fillRef idx="1">
              <a:schemeClr val="lt1"/>
            </a:fillRef>
            <a:effectRef idx="0">
              <a:schemeClr val="accent3"/>
            </a:effectRef>
            <a:fontRef idx="minor">
              <a:schemeClr val="dk1"/>
            </a:fontRef>
          </p:style>
          <p:txBody>
            <a:bodyPr lIns="540000" rIns="36000" rtlCol="0" anchor="ctr"/>
            <a:lstStyle/>
            <a:p>
              <a:r>
                <a:rPr lang="en-AU" sz="1100" b="1" dirty="0">
                  <a:solidFill>
                    <a:schemeClr val="accent5">
                      <a:lumMod val="60000"/>
                      <a:lumOff val="40000"/>
                    </a:schemeClr>
                  </a:solidFill>
                </a:rPr>
                <a:t>Consistency</a:t>
              </a:r>
            </a:p>
            <a:p>
              <a:r>
                <a:rPr lang="en-AU" sz="1050" dirty="0"/>
                <a:t>Look to store and create documents and information in a consistent and logical way. Consistent structures of libraries across all site-collections (with minimal variations) will enable greater accessibility and collaboration across teams. This can be enabled by clear governance.</a:t>
              </a:r>
            </a:p>
          </p:txBody>
        </p:sp>
        <p:sp>
          <p:nvSpPr>
            <p:cNvPr id="44" name="Isosceles Triangle 43">
              <a:extLst>
                <a:ext uri="{FF2B5EF4-FFF2-40B4-BE49-F238E27FC236}">
                  <a16:creationId xmlns:a16="http://schemas.microsoft.com/office/drawing/2014/main" id="{EFB06E33-8A45-D610-CC47-FDE99AAE2567}"/>
                </a:ext>
              </a:extLst>
            </p:cNvPr>
            <p:cNvSpPr/>
            <p:nvPr/>
          </p:nvSpPr>
          <p:spPr>
            <a:xfrm rot="5400000">
              <a:off x="4973317" y="3703901"/>
              <a:ext cx="612000" cy="455588"/>
            </a:xfrm>
            <a:prstGeom prst="triangl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44000" rtlCol="0" anchor="ctr"/>
            <a:lstStyle/>
            <a:p>
              <a:pPr algn="ctr"/>
              <a:r>
                <a:rPr lang="en-AU" sz="1400" b="1">
                  <a:solidFill>
                    <a:schemeClr val="bg1"/>
                  </a:solidFill>
                </a:rPr>
                <a:t>4</a:t>
              </a:r>
            </a:p>
          </p:txBody>
        </p:sp>
      </p:grpSp>
      <p:grpSp>
        <p:nvGrpSpPr>
          <p:cNvPr id="18" name="Group 17">
            <a:extLst>
              <a:ext uri="{FF2B5EF4-FFF2-40B4-BE49-F238E27FC236}">
                <a16:creationId xmlns:a16="http://schemas.microsoft.com/office/drawing/2014/main" id="{8E33B018-772B-FABC-526C-FBE90C1CD72F}"/>
              </a:ext>
            </a:extLst>
          </p:cNvPr>
          <p:cNvGrpSpPr/>
          <p:nvPr/>
        </p:nvGrpSpPr>
        <p:grpSpPr>
          <a:xfrm>
            <a:off x="535723" y="4954515"/>
            <a:ext cx="4312752" cy="1188000"/>
            <a:chOff x="535723" y="4872014"/>
            <a:chExt cx="4312752" cy="1188000"/>
          </a:xfrm>
        </p:grpSpPr>
        <p:sp>
          <p:nvSpPr>
            <p:cNvPr id="45" name="Rectangle 44">
              <a:extLst>
                <a:ext uri="{FF2B5EF4-FFF2-40B4-BE49-F238E27FC236}">
                  <a16:creationId xmlns:a16="http://schemas.microsoft.com/office/drawing/2014/main" id="{DC656B41-F94F-5E05-CA97-84F734BF6388}"/>
                </a:ext>
              </a:extLst>
            </p:cNvPr>
            <p:cNvSpPr/>
            <p:nvPr/>
          </p:nvSpPr>
          <p:spPr>
            <a:xfrm>
              <a:off x="539999" y="4872014"/>
              <a:ext cx="4308476" cy="1188000"/>
            </a:xfrm>
            <a:prstGeom prst="rect">
              <a:avLst/>
            </a:prstGeom>
            <a:ln>
              <a:noFill/>
            </a:ln>
          </p:spPr>
          <p:style>
            <a:lnRef idx="2">
              <a:schemeClr val="accent3"/>
            </a:lnRef>
            <a:fillRef idx="1">
              <a:schemeClr val="lt1"/>
            </a:fillRef>
            <a:effectRef idx="0">
              <a:schemeClr val="accent3"/>
            </a:effectRef>
            <a:fontRef idx="minor">
              <a:schemeClr val="dk1"/>
            </a:fontRef>
          </p:style>
          <p:txBody>
            <a:bodyPr lIns="540000" rIns="36000" rtlCol="0" anchor="ctr"/>
            <a:lstStyle/>
            <a:p>
              <a:r>
                <a:rPr lang="en-AU" sz="1100" b="1">
                  <a:solidFill>
                    <a:srgbClr val="AF62BA"/>
                  </a:solidFill>
                </a:rPr>
                <a:t>Clear governance</a:t>
              </a:r>
            </a:p>
            <a:p>
              <a:r>
                <a:rPr lang="en-AU" sz="1050"/>
                <a:t>Establish clear and transparent information policies. These should guide usage, manage the content lifecycle, and ensure compliance with legislative and operational requirements.</a:t>
              </a:r>
            </a:p>
          </p:txBody>
        </p:sp>
        <p:sp>
          <p:nvSpPr>
            <p:cNvPr id="47" name="Isosceles Triangle 46">
              <a:extLst>
                <a:ext uri="{FF2B5EF4-FFF2-40B4-BE49-F238E27FC236}">
                  <a16:creationId xmlns:a16="http://schemas.microsoft.com/office/drawing/2014/main" id="{A6D84AB3-F2E3-6518-0424-61123186F3BC}"/>
                </a:ext>
              </a:extLst>
            </p:cNvPr>
            <p:cNvSpPr/>
            <p:nvPr/>
          </p:nvSpPr>
          <p:spPr>
            <a:xfrm rot="5400000">
              <a:off x="457517" y="4950221"/>
              <a:ext cx="612000" cy="455588"/>
            </a:xfrm>
            <a:prstGeom prst="triangle">
              <a:avLst/>
            </a:prstGeom>
            <a:solidFill>
              <a:srgbClr val="AF62B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44000" rtlCol="0" anchor="ctr"/>
            <a:lstStyle/>
            <a:p>
              <a:pPr algn="ctr"/>
              <a:r>
                <a:rPr lang="en-AU" sz="1400" b="1">
                  <a:solidFill>
                    <a:schemeClr val="bg1"/>
                  </a:solidFill>
                </a:rPr>
                <a:t>5</a:t>
              </a:r>
            </a:p>
          </p:txBody>
        </p:sp>
      </p:grpSp>
      <p:grpSp>
        <p:nvGrpSpPr>
          <p:cNvPr id="13" name="Group 12">
            <a:extLst>
              <a:ext uri="{FF2B5EF4-FFF2-40B4-BE49-F238E27FC236}">
                <a16:creationId xmlns:a16="http://schemas.microsoft.com/office/drawing/2014/main" id="{FA358575-AA0A-3F34-093C-EA852550E071}"/>
              </a:ext>
            </a:extLst>
          </p:cNvPr>
          <p:cNvGrpSpPr/>
          <p:nvPr/>
        </p:nvGrpSpPr>
        <p:grpSpPr>
          <a:xfrm>
            <a:off x="5051523" y="4954515"/>
            <a:ext cx="4308476" cy="1188000"/>
            <a:chOff x="5051523" y="4872014"/>
            <a:chExt cx="4308476" cy="1188000"/>
          </a:xfrm>
        </p:grpSpPr>
        <p:sp>
          <p:nvSpPr>
            <p:cNvPr id="46" name="Rectangle 45">
              <a:extLst>
                <a:ext uri="{FF2B5EF4-FFF2-40B4-BE49-F238E27FC236}">
                  <a16:creationId xmlns:a16="http://schemas.microsoft.com/office/drawing/2014/main" id="{E8B7FA9D-4014-C76C-4C31-AA65BDEF68FC}"/>
                </a:ext>
              </a:extLst>
            </p:cNvPr>
            <p:cNvSpPr/>
            <p:nvPr/>
          </p:nvSpPr>
          <p:spPr>
            <a:xfrm>
              <a:off x="5051523" y="4872014"/>
              <a:ext cx="4308476" cy="1188000"/>
            </a:xfrm>
            <a:prstGeom prst="rect">
              <a:avLst/>
            </a:prstGeom>
            <a:ln>
              <a:noFill/>
            </a:ln>
          </p:spPr>
          <p:style>
            <a:lnRef idx="2">
              <a:schemeClr val="accent3"/>
            </a:lnRef>
            <a:fillRef idx="1">
              <a:schemeClr val="lt1"/>
            </a:fillRef>
            <a:effectRef idx="0">
              <a:schemeClr val="accent3"/>
            </a:effectRef>
            <a:fontRef idx="minor">
              <a:schemeClr val="dk1"/>
            </a:fontRef>
          </p:style>
          <p:txBody>
            <a:bodyPr lIns="540000" rIns="36000" rtlCol="0" anchor="ctr"/>
            <a:lstStyle/>
            <a:p>
              <a:r>
                <a:rPr lang="en-AU" sz="1100" b="1" dirty="0">
                  <a:solidFill>
                    <a:schemeClr val="accent1"/>
                  </a:solidFill>
                </a:rPr>
                <a:t>User guidance and training</a:t>
              </a:r>
            </a:p>
            <a:p>
              <a:r>
                <a:rPr lang="en-AU" sz="1050" dirty="0"/>
                <a:t>Provide clear guidance and training to employees to ensure consistency and adherence to information processes. This should cover document creation, document sharing, and use of metadata tags. This will ensure that documents are searchable from cross-functional purposes.</a:t>
              </a:r>
            </a:p>
          </p:txBody>
        </p:sp>
        <p:sp>
          <p:nvSpPr>
            <p:cNvPr id="48" name="Isosceles Triangle 47">
              <a:extLst>
                <a:ext uri="{FF2B5EF4-FFF2-40B4-BE49-F238E27FC236}">
                  <a16:creationId xmlns:a16="http://schemas.microsoft.com/office/drawing/2014/main" id="{5DBEEEA1-EEFA-2247-D89B-C2112055F868}"/>
                </a:ext>
              </a:extLst>
            </p:cNvPr>
            <p:cNvSpPr/>
            <p:nvPr/>
          </p:nvSpPr>
          <p:spPr>
            <a:xfrm rot="5400000">
              <a:off x="4973317" y="4950221"/>
              <a:ext cx="612000" cy="45558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tIns="72000" bIns="144000" rtlCol="0" anchor="ctr"/>
            <a:lstStyle/>
            <a:p>
              <a:pPr algn="ctr"/>
              <a:r>
                <a:rPr lang="en-AU" sz="1400" b="1">
                  <a:solidFill>
                    <a:schemeClr val="bg1"/>
                  </a:solidFill>
                </a:rPr>
                <a:t>6</a:t>
              </a:r>
            </a:p>
          </p:txBody>
        </p:sp>
      </p:grpSp>
      <p:sp>
        <p:nvSpPr>
          <p:cNvPr id="2" name="Rectangle 1">
            <a:extLst>
              <a:ext uri="{FF2B5EF4-FFF2-40B4-BE49-F238E27FC236}">
                <a16:creationId xmlns:a16="http://schemas.microsoft.com/office/drawing/2014/main" id="{4CF9AC12-6829-52A5-CD0E-10BDED945F63}"/>
              </a:ext>
            </a:extLst>
          </p:cNvPr>
          <p:cNvSpPr/>
          <p:nvPr/>
        </p:nvSpPr>
        <p:spPr>
          <a:xfrm>
            <a:off x="535724" y="1859854"/>
            <a:ext cx="8656326" cy="407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AU" sz="1200" b="1">
                <a:solidFill>
                  <a:schemeClr val="tx2"/>
                </a:solidFill>
              </a:rPr>
              <a:t>Across these principles, you will need to consider how to navigate the potential limitations presented through your organisational systems and policies. </a:t>
            </a:r>
            <a:endParaRPr lang="en-AU" sz="1200">
              <a:solidFill>
                <a:schemeClr val="tx2"/>
              </a:solidFill>
            </a:endParaRPr>
          </a:p>
        </p:txBody>
      </p:sp>
    </p:spTree>
    <p:extLst>
      <p:ext uri="{BB962C8B-B14F-4D97-AF65-F5344CB8AC3E}">
        <p14:creationId xmlns:p14="http://schemas.microsoft.com/office/powerpoint/2010/main" val="42085713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89BA1D-3706-9D9F-3A0F-168A0E11C3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5" name="think-cell data - do not delete" hidden="1">
                        <a:extLst>
                          <a:ext uri="{FF2B5EF4-FFF2-40B4-BE49-F238E27FC236}">
                            <a16:creationId xmlns:a16="http://schemas.microsoft.com/office/drawing/2014/main" id="{4489BA1D-3706-9D9F-3A0F-168A0E11C3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B853E69-A90C-3E89-6E59-4F50810429A8}"/>
              </a:ext>
            </a:extLst>
          </p:cNvPr>
          <p:cNvSpPr>
            <a:spLocks noGrp="1"/>
          </p:cNvSpPr>
          <p:nvPr>
            <p:ph type="title"/>
          </p:nvPr>
        </p:nvSpPr>
        <p:spPr>
          <a:xfrm>
            <a:off x="539999" y="541756"/>
            <a:ext cx="8820000" cy="348543"/>
          </a:xfrm>
        </p:spPr>
        <p:txBody>
          <a:bodyPr vert="horz"/>
          <a:lstStyle/>
          <a:p>
            <a:r>
              <a:rPr lang="en-AU"/>
              <a:t>Regulatory and operational use cases can be inputs to future state design</a:t>
            </a:r>
            <a:endParaRPr lang="en-AU">
              <a:highlight>
                <a:srgbClr val="FFFF00"/>
              </a:highlight>
            </a:endParaRPr>
          </a:p>
        </p:txBody>
      </p:sp>
      <p:sp>
        <p:nvSpPr>
          <p:cNvPr id="33" name="Content Placeholder 1">
            <a:extLst>
              <a:ext uri="{FF2B5EF4-FFF2-40B4-BE49-F238E27FC236}">
                <a16:creationId xmlns:a16="http://schemas.microsoft.com/office/drawing/2014/main" id="{F98D407E-A1CB-A66B-19ED-C8DE5551F8D5}"/>
              </a:ext>
            </a:extLst>
          </p:cNvPr>
          <p:cNvSpPr>
            <a:spLocks noGrp="1"/>
          </p:cNvSpPr>
          <p:nvPr>
            <p:ph sz="quarter" idx="13"/>
          </p:nvPr>
        </p:nvSpPr>
        <p:spPr>
          <a:xfrm>
            <a:off x="539999" y="1251508"/>
            <a:ext cx="8820000" cy="744932"/>
          </a:xfrm>
        </p:spPr>
        <p:txBody>
          <a:bodyPr vert="horz" lIns="0" tIns="45713" rIns="0" bIns="45713" rtlCol="0" anchor="t">
            <a:noAutofit/>
          </a:bodyPr>
          <a:lstStyle/>
          <a:p>
            <a:pPr marL="0" indent="0">
              <a:buClr>
                <a:schemeClr val="tx2"/>
              </a:buClr>
              <a:buNone/>
            </a:pPr>
            <a:r>
              <a:rPr lang="en-AU" dirty="0">
                <a:cs typeface="Segoe UI"/>
              </a:rPr>
              <a:t>An optimal information structure should be informed by the reasons teams need to collaborate, and the type of information and data they need to access. The below diagram summarises a range of potential use cases, as they relate to compliance monitoring and enforcement activities. Analysis of your current state information structure may also indicate other common functions that exist across teams and site collections.</a:t>
            </a:r>
          </a:p>
          <a:p>
            <a:pPr marL="0" indent="0">
              <a:buClr>
                <a:schemeClr val="tx2"/>
              </a:buClr>
              <a:buNone/>
            </a:pPr>
            <a:endParaRPr lang="en-AU" dirty="0">
              <a:cs typeface="Segoe UI"/>
            </a:endParaRPr>
          </a:p>
        </p:txBody>
      </p:sp>
      <p:sp>
        <p:nvSpPr>
          <p:cNvPr id="4" name="Rectangle 3">
            <a:extLst>
              <a:ext uri="{FF2B5EF4-FFF2-40B4-BE49-F238E27FC236}">
                <a16:creationId xmlns:a16="http://schemas.microsoft.com/office/drawing/2014/main" id="{D84E1ABD-09C0-34B4-2515-48183DD677F2}"/>
              </a:ext>
            </a:extLst>
          </p:cNvPr>
          <p:cNvSpPr/>
          <p:nvPr/>
        </p:nvSpPr>
        <p:spPr>
          <a:xfrm>
            <a:off x="539999" y="2258907"/>
            <a:ext cx="4365550" cy="3162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200" b="1">
                <a:solidFill>
                  <a:schemeClr val="bg1"/>
                </a:solidFill>
                <a:latin typeface="VIC" panose="00000500000000000000"/>
              </a:rPr>
              <a:t>Use cases related to regulatory practice</a:t>
            </a:r>
          </a:p>
        </p:txBody>
      </p:sp>
      <p:sp>
        <p:nvSpPr>
          <p:cNvPr id="6" name="Rectangle 5">
            <a:extLst>
              <a:ext uri="{FF2B5EF4-FFF2-40B4-BE49-F238E27FC236}">
                <a16:creationId xmlns:a16="http://schemas.microsoft.com/office/drawing/2014/main" id="{9D8787CA-B4CC-2C3E-E783-018DAE389F8A}"/>
              </a:ext>
            </a:extLst>
          </p:cNvPr>
          <p:cNvSpPr/>
          <p:nvPr/>
        </p:nvSpPr>
        <p:spPr>
          <a:xfrm>
            <a:off x="4994449" y="2258907"/>
            <a:ext cx="4365550" cy="3162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200" b="1">
                <a:solidFill>
                  <a:schemeClr val="bg1"/>
                </a:solidFill>
                <a:latin typeface="VIC" panose="00000500000000000000"/>
              </a:rPr>
              <a:t>Enablers and other operational use cases</a:t>
            </a:r>
          </a:p>
        </p:txBody>
      </p:sp>
      <p:sp>
        <p:nvSpPr>
          <p:cNvPr id="7" name="Rectangle 6">
            <a:extLst>
              <a:ext uri="{FF2B5EF4-FFF2-40B4-BE49-F238E27FC236}">
                <a16:creationId xmlns:a16="http://schemas.microsoft.com/office/drawing/2014/main" id="{E41C40E5-BFD6-0898-3ACA-3BB32AE9D26F}"/>
              </a:ext>
            </a:extLst>
          </p:cNvPr>
          <p:cNvSpPr/>
          <p:nvPr/>
        </p:nvSpPr>
        <p:spPr>
          <a:xfrm>
            <a:off x="539998" y="2731347"/>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Regulatory strategy and policy management</a:t>
            </a:r>
          </a:p>
        </p:txBody>
      </p:sp>
      <p:sp>
        <p:nvSpPr>
          <p:cNvPr id="9" name="Rectangle 8">
            <a:extLst>
              <a:ext uri="{FF2B5EF4-FFF2-40B4-BE49-F238E27FC236}">
                <a16:creationId xmlns:a16="http://schemas.microsoft.com/office/drawing/2014/main" id="{033267D3-05BA-6C1E-16E4-B4C6021F2EEF}"/>
              </a:ext>
            </a:extLst>
          </p:cNvPr>
          <p:cNvSpPr/>
          <p:nvPr/>
        </p:nvSpPr>
        <p:spPr>
          <a:xfrm>
            <a:off x="2889549" y="2727599"/>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License and permit management</a:t>
            </a:r>
          </a:p>
        </p:txBody>
      </p:sp>
      <p:sp>
        <p:nvSpPr>
          <p:cNvPr id="17" name="Rectangle 16">
            <a:extLst>
              <a:ext uri="{FF2B5EF4-FFF2-40B4-BE49-F238E27FC236}">
                <a16:creationId xmlns:a16="http://schemas.microsoft.com/office/drawing/2014/main" id="{8A5FBC12-F38A-648C-4F3F-2F6D63A20EDD}"/>
              </a:ext>
            </a:extLst>
          </p:cNvPr>
          <p:cNvSpPr/>
          <p:nvPr/>
        </p:nvSpPr>
        <p:spPr>
          <a:xfrm>
            <a:off x="539998" y="3503849"/>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Compliance monitoring and enforcement</a:t>
            </a:r>
          </a:p>
        </p:txBody>
      </p:sp>
      <p:sp>
        <p:nvSpPr>
          <p:cNvPr id="18" name="Rectangle 17">
            <a:extLst>
              <a:ext uri="{FF2B5EF4-FFF2-40B4-BE49-F238E27FC236}">
                <a16:creationId xmlns:a16="http://schemas.microsoft.com/office/drawing/2014/main" id="{B5D3C081-C436-6276-67C2-C35D6650B47C}"/>
              </a:ext>
            </a:extLst>
          </p:cNvPr>
          <p:cNvSpPr/>
          <p:nvPr/>
        </p:nvSpPr>
        <p:spPr>
          <a:xfrm>
            <a:off x="2889549" y="3500101"/>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Performance management</a:t>
            </a:r>
          </a:p>
        </p:txBody>
      </p:sp>
      <p:sp>
        <p:nvSpPr>
          <p:cNvPr id="19" name="Rectangle 18">
            <a:extLst>
              <a:ext uri="{FF2B5EF4-FFF2-40B4-BE49-F238E27FC236}">
                <a16:creationId xmlns:a16="http://schemas.microsoft.com/office/drawing/2014/main" id="{97AD3516-DDE9-3112-FEB0-F38BE2D47078}"/>
              </a:ext>
            </a:extLst>
          </p:cNvPr>
          <p:cNvSpPr/>
          <p:nvPr/>
        </p:nvSpPr>
        <p:spPr>
          <a:xfrm>
            <a:off x="539998" y="4273432"/>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Incident reporting and management</a:t>
            </a:r>
          </a:p>
        </p:txBody>
      </p:sp>
      <p:sp>
        <p:nvSpPr>
          <p:cNvPr id="20" name="Rectangle 19">
            <a:extLst>
              <a:ext uri="{FF2B5EF4-FFF2-40B4-BE49-F238E27FC236}">
                <a16:creationId xmlns:a16="http://schemas.microsoft.com/office/drawing/2014/main" id="{2E008FE4-468A-5FBC-3D8A-4B9928CA518E}"/>
              </a:ext>
            </a:extLst>
          </p:cNvPr>
          <p:cNvSpPr/>
          <p:nvPr/>
        </p:nvSpPr>
        <p:spPr>
          <a:xfrm>
            <a:off x="2889549" y="4269684"/>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Audit trail creation</a:t>
            </a:r>
          </a:p>
        </p:txBody>
      </p:sp>
      <p:sp>
        <p:nvSpPr>
          <p:cNvPr id="21" name="Rectangle 20">
            <a:extLst>
              <a:ext uri="{FF2B5EF4-FFF2-40B4-BE49-F238E27FC236}">
                <a16:creationId xmlns:a16="http://schemas.microsoft.com/office/drawing/2014/main" id="{A169B4CD-4D70-EB80-CC74-A0834F2A0B8B}"/>
              </a:ext>
            </a:extLst>
          </p:cNvPr>
          <p:cNvSpPr/>
          <p:nvPr/>
        </p:nvSpPr>
        <p:spPr>
          <a:xfrm>
            <a:off x="5000453" y="2731347"/>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Team administration</a:t>
            </a:r>
          </a:p>
        </p:txBody>
      </p:sp>
      <p:sp>
        <p:nvSpPr>
          <p:cNvPr id="22" name="Rectangle 21">
            <a:extLst>
              <a:ext uri="{FF2B5EF4-FFF2-40B4-BE49-F238E27FC236}">
                <a16:creationId xmlns:a16="http://schemas.microsoft.com/office/drawing/2014/main" id="{8D8441B3-B796-3CCC-8825-890BC44E2B46}"/>
              </a:ext>
            </a:extLst>
          </p:cNvPr>
          <p:cNvSpPr/>
          <p:nvPr/>
        </p:nvSpPr>
        <p:spPr>
          <a:xfrm>
            <a:off x="7350004" y="2727599"/>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Version control</a:t>
            </a:r>
          </a:p>
        </p:txBody>
      </p:sp>
      <p:sp>
        <p:nvSpPr>
          <p:cNvPr id="23" name="Rectangle 22">
            <a:extLst>
              <a:ext uri="{FF2B5EF4-FFF2-40B4-BE49-F238E27FC236}">
                <a16:creationId xmlns:a16="http://schemas.microsoft.com/office/drawing/2014/main" id="{8C5B962E-D15E-0D89-F987-E1E43251E4E6}"/>
              </a:ext>
            </a:extLst>
          </p:cNvPr>
          <p:cNvSpPr/>
          <p:nvPr/>
        </p:nvSpPr>
        <p:spPr>
          <a:xfrm>
            <a:off x="5000453" y="3503849"/>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Governance and risk</a:t>
            </a:r>
          </a:p>
        </p:txBody>
      </p:sp>
      <p:sp>
        <p:nvSpPr>
          <p:cNvPr id="24" name="Rectangle 23">
            <a:extLst>
              <a:ext uri="{FF2B5EF4-FFF2-40B4-BE49-F238E27FC236}">
                <a16:creationId xmlns:a16="http://schemas.microsoft.com/office/drawing/2014/main" id="{787CB320-AA9D-8C92-195B-63C5A71A5BB2}"/>
              </a:ext>
            </a:extLst>
          </p:cNvPr>
          <p:cNvSpPr/>
          <p:nvPr/>
        </p:nvSpPr>
        <p:spPr>
          <a:xfrm>
            <a:off x="7350004" y="3500101"/>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People and culture, HR and recruitment</a:t>
            </a:r>
          </a:p>
        </p:txBody>
      </p:sp>
      <p:sp>
        <p:nvSpPr>
          <p:cNvPr id="25" name="Rectangle 24">
            <a:extLst>
              <a:ext uri="{FF2B5EF4-FFF2-40B4-BE49-F238E27FC236}">
                <a16:creationId xmlns:a16="http://schemas.microsoft.com/office/drawing/2014/main" id="{41E25835-6056-2C8D-7D09-F6A7696FC99B}"/>
              </a:ext>
            </a:extLst>
          </p:cNvPr>
          <p:cNvSpPr/>
          <p:nvPr/>
        </p:nvSpPr>
        <p:spPr>
          <a:xfrm>
            <a:off x="5000453" y="4273432"/>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Legal</a:t>
            </a:r>
          </a:p>
        </p:txBody>
      </p:sp>
      <p:sp>
        <p:nvSpPr>
          <p:cNvPr id="26" name="Rectangle 25">
            <a:extLst>
              <a:ext uri="{FF2B5EF4-FFF2-40B4-BE49-F238E27FC236}">
                <a16:creationId xmlns:a16="http://schemas.microsoft.com/office/drawing/2014/main" id="{B1338060-DF91-B360-972E-0E959DA0114A}"/>
              </a:ext>
            </a:extLst>
          </p:cNvPr>
          <p:cNvSpPr/>
          <p:nvPr/>
        </p:nvSpPr>
        <p:spPr>
          <a:xfrm>
            <a:off x="7350004" y="4269684"/>
            <a:ext cx="201600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Internal communication</a:t>
            </a:r>
          </a:p>
        </p:txBody>
      </p:sp>
      <p:sp>
        <p:nvSpPr>
          <p:cNvPr id="27" name="Rectangle 26">
            <a:extLst>
              <a:ext uri="{FF2B5EF4-FFF2-40B4-BE49-F238E27FC236}">
                <a16:creationId xmlns:a16="http://schemas.microsoft.com/office/drawing/2014/main" id="{BB659721-7005-3690-7BEF-D768DD3D0D8D}"/>
              </a:ext>
            </a:extLst>
          </p:cNvPr>
          <p:cNvSpPr/>
          <p:nvPr/>
        </p:nvSpPr>
        <p:spPr>
          <a:xfrm>
            <a:off x="4994448" y="4971628"/>
            <a:ext cx="4365549"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Finance and budgeting</a:t>
            </a:r>
          </a:p>
        </p:txBody>
      </p:sp>
      <p:sp>
        <p:nvSpPr>
          <p:cNvPr id="28" name="Rectangle 27">
            <a:extLst>
              <a:ext uri="{FF2B5EF4-FFF2-40B4-BE49-F238E27FC236}">
                <a16:creationId xmlns:a16="http://schemas.microsoft.com/office/drawing/2014/main" id="{8D4DDC3C-BF00-551D-C489-28293E768AD1}"/>
              </a:ext>
            </a:extLst>
          </p:cNvPr>
          <p:cNvSpPr/>
          <p:nvPr/>
        </p:nvSpPr>
        <p:spPr>
          <a:xfrm>
            <a:off x="539998" y="4971628"/>
            <a:ext cx="4365549"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lnSpc>
                <a:spcPct val="110000"/>
              </a:lnSpc>
              <a:spcBef>
                <a:spcPts val="200"/>
              </a:spcBef>
              <a:spcAft>
                <a:spcPts val="600"/>
              </a:spcAft>
            </a:pPr>
            <a:r>
              <a:rPr lang="en-AU" sz="1100" b="1">
                <a:solidFill>
                  <a:schemeClr val="tx1"/>
                </a:solidFill>
                <a:latin typeface="+mj-lt"/>
                <a:cs typeface="Segoe UI" panose="020B0502040204020203" pitchFamily="34" charset="0"/>
              </a:rPr>
              <a:t>Data analytics and intelligence</a:t>
            </a:r>
          </a:p>
        </p:txBody>
      </p:sp>
    </p:spTree>
    <p:extLst>
      <p:ext uri="{BB962C8B-B14F-4D97-AF65-F5344CB8AC3E}">
        <p14:creationId xmlns:p14="http://schemas.microsoft.com/office/powerpoint/2010/main" val="317380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96B4CD-0AA9-DE64-0A9F-3914814178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0596B4CD-0AA9-DE64-0A9F-3914814178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DB54B736-1D41-72F0-AD0A-F40BAFDDBDB5}"/>
              </a:ext>
            </a:extLst>
          </p:cNvPr>
          <p:cNvSpPr>
            <a:spLocks noGrp="1"/>
          </p:cNvSpPr>
          <p:nvPr>
            <p:ph type="title"/>
          </p:nvPr>
        </p:nvSpPr>
        <p:spPr>
          <a:xfrm>
            <a:off x="540000" y="299382"/>
            <a:ext cx="5892606" cy="590917"/>
          </a:xfrm>
        </p:spPr>
        <p:txBody>
          <a:bodyPr vert="horz"/>
          <a:lstStyle/>
          <a:p>
            <a:r>
              <a:rPr lang="en-AU"/>
              <a:t>Implementing an improved information structure should make it easier for employees to find the information they need</a:t>
            </a:r>
          </a:p>
        </p:txBody>
      </p:sp>
      <p:sp>
        <p:nvSpPr>
          <p:cNvPr id="7" name="Content Placeholder 2">
            <a:extLst>
              <a:ext uri="{FF2B5EF4-FFF2-40B4-BE49-F238E27FC236}">
                <a16:creationId xmlns:a16="http://schemas.microsoft.com/office/drawing/2014/main" id="{26A7116D-1600-A1EB-4994-71E15A6E91CB}"/>
              </a:ext>
            </a:extLst>
          </p:cNvPr>
          <p:cNvSpPr txBox="1">
            <a:spLocks/>
          </p:cNvSpPr>
          <p:nvPr/>
        </p:nvSpPr>
        <p:spPr>
          <a:xfrm>
            <a:off x="539057" y="1656381"/>
            <a:ext cx="5892606" cy="637744"/>
          </a:xfrm>
          <a:prstGeom prst="rect">
            <a:avLst/>
          </a:prstGeom>
        </p:spPr>
        <p:txBody>
          <a:bodyPr vert="horz" lIns="0" tIns="45713" rIns="0" bIns="45713"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tx1"/>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tx1"/>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spcBef>
                <a:spcPts val="600"/>
              </a:spcBef>
            </a:pPr>
            <a:r>
              <a:rPr lang="en-AU">
                <a:cs typeface="Segoe UI"/>
              </a:rPr>
              <a:t>Implementing a structure like the one below will improve the efficiency of cross-team collaboration. You should consider your existing information management systems and employees’ knowledge of process to develop a tailored future structure. </a:t>
            </a:r>
          </a:p>
        </p:txBody>
      </p:sp>
      <p:sp>
        <p:nvSpPr>
          <p:cNvPr id="28" name="Content Placeholder 2">
            <a:extLst>
              <a:ext uri="{FF2B5EF4-FFF2-40B4-BE49-F238E27FC236}">
                <a16:creationId xmlns:a16="http://schemas.microsoft.com/office/drawing/2014/main" id="{6FE5B717-68E7-B5A6-8A42-7B74B0E6ECE2}"/>
              </a:ext>
            </a:extLst>
          </p:cNvPr>
          <p:cNvSpPr txBox="1">
            <a:spLocks/>
          </p:cNvSpPr>
          <p:nvPr/>
        </p:nvSpPr>
        <p:spPr>
          <a:xfrm>
            <a:off x="539057" y="1232562"/>
            <a:ext cx="5892606" cy="432160"/>
          </a:xfrm>
          <a:prstGeom prst="rect">
            <a:avLst/>
          </a:prstGeom>
        </p:spPr>
        <p:txBody>
          <a:bodyPr vert="horz" lIns="0" tIns="45713" rIns="0" bIns="45713"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tx1"/>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tx1"/>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spcBef>
                <a:spcPts val="600"/>
              </a:spcBef>
            </a:pPr>
            <a:r>
              <a:rPr lang="en-AU" b="1">
                <a:cs typeface="Segoe UI"/>
              </a:rPr>
              <a:t>The below diagram provides an illustrative example of what a future information structure within SharePoint could look like. </a:t>
            </a:r>
          </a:p>
        </p:txBody>
      </p:sp>
      <p:sp>
        <p:nvSpPr>
          <p:cNvPr id="29" name="Text Placeholder 4">
            <a:extLst>
              <a:ext uri="{FF2B5EF4-FFF2-40B4-BE49-F238E27FC236}">
                <a16:creationId xmlns:a16="http://schemas.microsoft.com/office/drawing/2014/main" id="{2CD2714C-41C8-65F4-01D2-A1F2353866B7}"/>
              </a:ext>
            </a:extLst>
          </p:cNvPr>
          <p:cNvSpPr txBox="1">
            <a:spLocks/>
          </p:cNvSpPr>
          <p:nvPr/>
        </p:nvSpPr>
        <p:spPr>
          <a:xfrm>
            <a:off x="7094520" y="1220344"/>
            <a:ext cx="2468580" cy="2698514"/>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b="1" dirty="0">
                <a:solidFill>
                  <a:schemeClr val="bg1"/>
                </a:solidFill>
              </a:rPr>
              <a:t>Next steps to validate and further develop future structure</a:t>
            </a:r>
          </a:p>
          <a:p>
            <a:pPr marL="228600" indent="-228600">
              <a:buFont typeface="+mj-lt"/>
              <a:buAutoNum type="arabicPeriod"/>
            </a:pPr>
            <a:r>
              <a:rPr lang="en-AU" dirty="0">
                <a:solidFill>
                  <a:schemeClr val="bg1"/>
                </a:solidFill>
              </a:rPr>
              <a:t>Engage with your relevant internal teams to understand system capabilities and limitations. </a:t>
            </a:r>
          </a:p>
          <a:p>
            <a:pPr marL="228600" indent="-228600">
              <a:buFont typeface="+mj-lt"/>
              <a:buAutoNum type="arabicPeriod"/>
            </a:pPr>
            <a:r>
              <a:rPr lang="en-AU" dirty="0">
                <a:solidFill>
                  <a:schemeClr val="bg1"/>
                </a:solidFill>
              </a:rPr>
              <a:t>Validate the accessibility of common information </a:t>
            </a:r>
            <a:r>
              <a:rPr lang="en-AU">
                <a:solidFill>
                  <a:schemeClr val="bg1"/>
                </a:solidFill>
              </a:rPr>
              <a:t>sets for </a:t>
            </a:r>
            <a:r>
              <a:rPr lang="en-AU" dirty="0">
                <a:solidFill>
                  <a:schemeClr val="bg1"/>
                </a:solidFill>
              </a:rPr>
              <a:t>employees. Your site-collections should be informed by what information different groups of employees need to access. Ideally, your permission settings should be applied at the site-collection level.</a:t>
            </a:r>
          </a:p>
          <a:p>
            <a:pPr marL="228600" indent="-228600">
              <a:buFont typeface="+mj-lt"/>
              <a:buAutoNum type="arabicPeriod"/>
            </a:pPr>
            <a:r>
              <a:rPr lang="en-AU" dirty="0">
                <a:solidFill>
                  <a:schemeClr val="bg1"/>
                </a:solidFill>
              </a:rPr>
              <a:t>Design a common library structure. This common library structure should be broad enough to apply to all teams and functions, with exceptions permitted for corporate functions. Designing an effective structure will make it easier for documents to be organised and retrieved. </a:t>
            </a:r>
          </a:p>
        </p:txBody>
      </p:sp>
      <p:sp>
        <p:nvSpPr>
          <p:cNvPr id="33" name="Rectangle 32">
            <a:extLst>
              <a:ext uri="{FF2B5EF4-FFF2-40B4-BE49-F238E27FC236}">
                <a16:creationId xmlns:a16="http://schemas.microsoft.com/office/drawing/2014/main" id="{3836A8CB-C90C-1E04-6680-71F89E7CA9D3}"/>
              </a:ext>
            </a:extLst>
          </p:cNvPr>
          <p:cNvSpPr/>
          <p:nvPr/>
        </p:nvSpPr>
        <p:spPr>
          <a:xfrm>
            <a:off x="553609" y="2484576"/>
            <a:ext cx="5798243" cy="2333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b="1">
                <a:solidFill>
                  <a:schemeClr val="bg1"/>
                </a:solidFill>
                <a:latin typeface="VIC" panose="00000500000000000000"/>
              </a:rPr>
              <a:t>OPTION FOR A FUTURE STATE SHAREPOINT STRUCTURE</a:t>
            </a:r>
          </a:p>
        </p:txBody>
      </p:sp>
      <p:cxnSp>
        <p:nvCxnSpPr>
          <p:cNvPr id="66" name="Straight Arrow Connector 65">
            <a:extLst>
              <a:ext uri="{FF2B5EF4-FFF2-40B4-BE49-F238E27FC236}">
                <a16:creationId xmlns:a16="http://schemas.microsoft.com/office/drawing/2014/main" id="{DA2A2B8C-73E3-A59F-62E0-B179F77A86EB}"/>
              </a:ext>
            </a:extLst>
          </p:cNvPr>
          <p:cNvCxnSpPr>
            <a:cxnSpLocks/>
            <a:endCxn id="70" idx="1"/>
          </p:cNvCxnSpPr>
          <p:nvPr/>
        </p:nvCxnSpPr>
        <p:spPr>
          <a:xfrm>
            <a:off x="1318239" y="2947320"/>
            <a:ext cx="4133613" cy="1"/>
          </a:xfrm>
          <a:prstGeom prst="straightConnector1">
            <a:avLst/>
          </a:prstGeom>
          <a:ln w="254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DF17ECDA-4C46-22D1-3767-7CED0D7D9F98}"/>
              </a:ext>
            </a:extLst>
          </p:cNvPr>
          <p:cNvSpPr/>
          <p:nvPr/>
        </p:nvSpPr>
        <p:spPr>
          <a:xfrm>
            <a:off x="1781728" y="2806795"/>
            <a:ext cx="900000" cy="281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Site collections</a:t>
            </a:r>
          </a:p>
        </p:txBody>
      </p:sp>
      <p:sp>
        <p:nvSpPr>
          <p:cNvPr id="68" name="Rectangle 67">
            <a:extLst>
              <a:ext uri="{FF2B5EF4-FFF2-40B4-BE49-F238E27FC236}">
                <a16:creationId xmlns:a16="http://schemas.microsoft.com/office/drawing/2014/main" id="{710324E3-B31F-58B6-FE4E-9CEA77B34EB3}"/>
              </a:ext>
            </a:extLst>
          </p:cNvPr>
          <p:cNvSpPr/>
          <p:nvPr/>
        </p:nvSpPr>
        <p:spPr>
          <a:xfrm>
            <a:off x="3005103" y="2806795"/>
            <a:ext cx="900000" cy="281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Libraries</a:t>
            </a:r>
          </a:p>
        </p:txBody>
      </p:sp>
      <p:sp>
        <p:nvSpPr>
          <p:cNvPr id="69" name="Rectangle 68">
            <a:extLst>
              <a:ext uri="{FF2B5EF4-FFF2-40B4-BE49-F238E27FC236}">
                <a16:creationId xmlns:a16="http://schemas.microsoft.com/office/drawing/2014/main" id="{F03A20F5-BFF2-DB4A-51DC-9A66CD00E6EF}"/>
              </a:ext>
            </a:extLst>
          </p:cNvPr>
          <p:cNvSpPr/>
          <p:nvPr/>
        </p:nvSpPr>
        <p:spPr>
          <a:xfrm>
            <a:off x="4228478" y="2806795"/>
            <a:ext cx="900000" cy="281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Document-sets</a:t>
            </a:r>
          </a:p>
        </p:txBody>
      </p:sp>
      <p:sp>
        <p:nvSpPr>
          <p:cNvPr id="70" name="Rectangle 69">
            <a:extLst>
              <a:ext uri="{FF2B5EF4-FFF2-40B4-BE49-F238E27FC236}">
                <a16:creationId xmlns:a16="http://schemas.microsoft.com/office/drawing/2014/main" id="{5AB5DE8E-80AE-7A1E-45C9-C8249E3E9261}"/>
              </a:ext>
            </a:extLst>
          </p:cNvPr>
          <p:cNvSpPr/>
          <p:nvPr/>
        </p:nvSpPr>
        <p:spPr>
          <a:xfrm>
            <a:off x="5451852" y="2806794"/>
            <a:ext cx="900000" cy="281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Metadata tags</a:t>
            </a:r>
          </a:p>
        </p:txBody>
      </p:sp>
      <p:sp>
        <p:nvSpPr>
          <p:cNvPr id="71" name="Rectangle 70">
            <a:extLst>
              <a:ext uri="{FF2B5EF4-FFF2-40B4-BE49-F238E27FC236}">
                <a16:creationId xmlns:a16="http://schemas.microsoft.com/office/drawing/2014/main" id="{6A2AF1C6-40F0-2154-53DD-A71C72F74FA5}"/>
              </a:ext>
            </a:extLst>
          </p:cNvPr>
          <p:cNvSpPr/>
          <p:nvPr/>
        </p:nvSpPr>
        <p:spPr>
          <a:xfrm>
            <a:off x="1705861" y="5307132"/>
            <a:ext cx="937767" cy="281053"/>
          </a:xfrm>
          <a:prstGeom prst="rect">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bg1"/>
                </a:solidFill>
              </a:rPr>
              <a:t>Regulatory scheme 1</a:t>
            </a:r>
          </a:p>
        </p:txBody>
      </p:sp>
      <p:sp>
        <p:nvSpPr>
          <p:cNvPr id="72" name="Rectangle 71">
            <a:extLst>
              <a:ext uri="{FF2B5EF4-FFF2-40B4-BE49-F238E27FC236}">
                <a16:creationId xmlns:a16="http://schemas.microsoft.com/office/drawing/2014/main" id="{2FD91B6F-44F8-2C57-7891-B48B41916FA5}"/>
              </a:ext>
            </a:extLst>
          </p:cNvPr>
          <p:cNvSpPr/>
          <p:nvPr/>
        </p:nvSpPr>
        <p:spPr>
          <a:xfrm>
            <a:off x="1705861" y="5657489"/>
            <a:ext cx="937767" cy="281053"/>
          </a:xfrm>
          <a:prstGeom prst="rect">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bg1"/>
                </a:solidFill>
              </a:rPr>
              <a:t>Regulatory scheme 2</a:t>
            </a:r>
          </a:p>
        </p:txBody>
      </p:sp>
      <p:sp>
        <p:nvSpPr>
          <p:cNvPr id="73" name="Rectangle 72">
            <a:extLst>
              <a:ext uri="{FF2B5EF4-FFF2-40B4-BE49-F238E27FC236}">
                <a16:creationId xmlns:a16="http://schemas.microsoft.com/office/drawing/2014/main" id="{B5C2CDA5-5F3C-2C82-680F-F9CF730EB241}"/>
              </a:ext>
            </a:extLst>
          </p:cNvPr>
          <p:cNvSpPr/>
          <p:nvPr/>
        </p:nvSpPr>
        <p:spPr>
          <a:xfrm>
            <a:off x="2959713" y="5307132"/>
            <a:ext cx="1008000" cy="281053"/>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Compliance</a:t>
            </a:r>
          </a:p>
        </p:txBody>
      </p:sp>
      <p:sp>
        <p:nvSpPr>
          <p:cNvPr id="74" name="Rectangle 73">
            <a:extLst>
              <a:ext uri="{FF2B5EF4-FFF2-40B4-BE49-F238E27FC236}">
                <a16:creationId xmlns:a16="http://schemas.microsoft.com/office/drawing/2014/main" id="{DA75AF50-27F0-FB28-79AD-E1BEDF97B2DD}"/>
              </a:ext>
            </a:extLst>
          </p:cNvPr>
          <p:cNvSpPr/>
          <p:nvPr/>
        </p:nvSpPr>
        <p:spPr>
          <a:xfrm>
            <a:off x="2959713" y="5657489"/>
            <a:ext cx="1008000" cy="281053"/>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Engagement</a:t>
            </a:r>
          </a:p>
        </p:txBody>
      </p:sp>
      <p:sp>
        <p:nvSpPr>
          <p:cNvPr id="75" name="Rectangle 74">
            <a:extLst>
              <a:ext uri="{FF2B5EF4-FFF2-40B4-BE49-F238E27FC236}">
                <a16:creationId xmlns:a16="http://schemas.microsoft.com/office/drawing/2014/main" id="{1F70B720-3F81-7E6F-2960-11E581DFC429}"/>
              </a:ext>
            </a:extLst>
          </p:cNvPr>
          <p:cNvSpPr/>
          <p:nvPr/>
        </p:nvSpPr>
        <p:spPr>
          <a:xfrm>
            <a:off x="2959713" y="4955520"/>
            <a:ext cx="1008000" cy="281053"/>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Licensing</a:t>
            </a:r>
          </a:p>
        </p:txBody>
      </p:sp>
      <p:sp>
        <p:nvSpPr>
          <p:cNvPr id="76" name="Rectangle 75">
            <a:extLst>
              <a:ext uri="{FF2B5EF4-FFF2-40B4-BE49-F238E27FC236}">
                <a16:creationId xmlns:a16="http://schemas.microsoft.com/office/drawing/2014/main" id="{840E4874-1B37-58AE-FD04-4C17C1EB2E4C}"/>
              </a:ext>
            </a:extLst>
          </p:cNvPr>
          <p:cNvSpPr/>
          <p:nvPr/>
        </p:nvSpPr>
        <p:spPr>
          <a:xfrm>
            <a:off x="1781728" y="3144063"/>
            <a:ext cx="1014765" cy="196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n-AU" sz="894">
                <a:solidFill>
                  <a:schemeClr val="tx2"/>
                </a:solidFill>
              </a:rPr>
              <a:t>Site collections are established around </a:t>
            </a:r>
            <a:r>
              <a:rPr lang="en-AU" sz="894" b="1">
                <a:solidFill>
                  <a:schemeClr val="tx2"/>
                </a:solidFill>
              </a:rPr>
              <a:t>common information sets that are accessed by a common set of employees</a:t>
            </a:r>
            <a:r>
              <a:rPr lang="en-AU" sz="894">
                <a:solidFill>
                  <a:schemeClr val="tx2"/>
                </a:solidFill>
              </a:rPr>
              <a:t>. This may reflect teams, schemes, or functions (e.g., HR and recruitment).</a:t>
            </a:r>
          </a:p>
        </p:txBody>
      </p:sp>
      <p:sp>
        <p:nvSpPr>
          <p:cNvPr id="77" name="Rectangle 76">
            <a:extLst>
              <a:ext uri="{FF2B5EF4-FFF2-40B4-BE49-F238E27FC236}">
                <a16:creationId xmlns:a16="http://schemas.microsoft.com/office/drawing/2014/main" id="{396C302C-0C4E-B5B6-A9F0-21A58DC8D984}"/>
              </a:ext>
            </a:extLst>
          </p:cNvPr>
          <p:cNvSpPr/>
          <p:nvPr/>
        </p:nvSpPr>
        <p:spPr>
          <a:xfrm>
            <a:off x="3005103" y="3144064"/>
            <a:ext cx="1105023" cy="1427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n-AU" sz="894">
                <a:solidFill>
                  <a:schemeClr val="tx2"/>
                </a:solidFill>
              </a:rPr>
              <a:t>There is a </a:t>
            </a:r>
            <a:r>
              <a:rPr lang="en-AU" sz="894" b="1">
                <a:solidFill>
                  <a:schemeClr val="tx2"/>
                </a:solidFill>
              </a:rPr>
              <a:t>common library structure </a:t>
            </a:r>
            <a:r>
              <a:rPr lang="en-AU" sz="894">
                <a:solidFill>
                  <a:schemeClr val="tx2"/>
                </a:solidFill>
              </a:rPr>
              <a:t>applied to each site collection. This common structure creates more consistent navigation and makes document retrieval easier across teams.</a:t>
            </a:r>
          </a:p>
        </p:txBody>
      </p:sp>
      <p:sp>
        <p:nvSpPr>
          <p:cNvPr id="78" name="Rectangle 77">
            <a:extLst>
              <a:ext uri="{FF2B5EF4-FFF2-40B4-BE49-F238E27FC236}">
                <a16:creationId xmlns:a16="http://schemas.microsoft.com/office/drawing/2014/main" id="{7B7A581E-7082-CEDA-A32A-0606CB5F9A8D}"/>
              </a:ext>
            </a:extLst>
          </p:cNvPr>
          <p:cNvSpPr/>
          <p:nvPr/>
        </p:nvSpPr>
        <p:spPr>
          <a:xfrm>
            <a:off x="4228478" y="3144063"/>
            <a:ext cx="2211275" cy="865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n-AU" sz="894" b="1">
                <a:solidFill>
                  <a:schemeClr val="tx2"/>
                </a:solidFill>
              </a:rPr>
              <a:t>Document-sets should be utilised in tandem with metadata tags to enable filtering for entities and other commonly searched attributes.</a:t>
            </a:r>
          </a:p>
          <a:p>
            <a:endParaRPr lang="en-AU" sz="894">
              <a:solidFill>
                <a:schemeClr val="tx2"/>
              </a:solidFill>
            </a:endParaRPr>
          </a:p>
          <a:p>
            <a:r>
              <a:rPr lang="en-AU" sz="894">
                <a:solidFill>
                  <a:schemeClr val="tx2"/>
                </a:solidFill>
              </a:rPr>
              <a:t>Metadata tags, if used consistently on documents, </a:t>
            </a:r>
            <a:r>
              <a:rPr lang="en-AU" sz="894" b="1">
                <a:solidFill>
                  <a:schemeClr val="tx2"/>
                </a:solidFill>
              </a:rPr>
              <a:t>provide a powerful tool to enable document retrieval</a:t>
            </a:r>
            <a:r>
              <a:rPr lang="en-AU" sz="894">
                <a:solidFill>
                  <a:schemeClr val="tx2"/>
                </a:solidFill>
              </a:rPr>
              <a:t>.</a:t>
            </a:r>
          </a:p>
        </p:txBody>
      </p:sp>
      <p:sp>
        <p:nvSpPr>
          <p:cNvPr id="79" name="Rectangle 78">
            <a:extLst>
              <a:ext uri="{FF2B5EF4-FFF2-40B4-BE49-F238E27FC236}">
                <a16:creationId xmlns:a16="http://schemas.microsoft.com/office/drawing/2014/main" id="{2B36D0F4-8B77-8BED-D4D3-A3EEC6B139D9}"/>
              </a:ext>
            </a:extLst>
          </p:cNvPr>
          <p:cNvSpPr/>
          <p:nvPr/>
        </p:nvSpPr>
        <p:spPr>
          <a:xfrm>
            <a:off x="4156415" y="5307132"/>
            <a:ext cx="1116000" cy="28105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Project management</a:t>
            </a:r>
          </a:p>
        </p:txBody>
      </p:sp>
      <p:sp>
        <p:nvSpPr>
          <p:cNvPr id="80" name="Rectangle 79">
            <a:extLst>
              <a:ext uri="{FF2B5EF4-FFF2-40B4-BE49-F238E27FC236}">
                <a16:creationId xmlns:a16="http://schemas.microsoft.com/office/drawing/2014/main" id="{04DB58D0-4208-8A04-B8A5-5072A474EB44}"/>
              </a:ext>
            </a:extLst>
          </p:cNvPr>
          <p:cNvSpPr/>
          <p:nvPr/>
        </p:nvSpPr>
        <p:spPr>
          <a:xfrm>
            <a:off x="4156415" y="5657489"/>
            <a:ext cx="1116000" cy="28105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Reporting</a:t>
            </a:r>
          </a:p>
        </p:txBody>
      </p:sp>
      <p:sp>
        <p:nvSpPr>
          <p:cNvPr id="81" name="Rectangle 80">
            <a:extLst>
              <a:ext uri="{FF2B5EF4-FFF2-40B4-BE49-F238E27FC236}">
                <a16:creationId xmlns:a16="http://schemas.microsoft.com/office/drawing/2014/main" id="{941AEB56-C28F-55E4-980D-86C5288C5C36}"/>
              </a:ext>
            </a:extLst>
          </p:cNvPr>
          <p:cNvSpPr/>
          <p:nvPr/>
        </p:nvSpPr>
        <p:spPr>
          <a:xfrm>
            <a:off x="4156415" y="4955520"/>
            <a:ext cx="1116000" cy="28105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Applications</a:t>
            </a:r>
          </a:p>
        </p:txBody>
      </p:sp>
      <p:sp>
        <p:nvSpPr>
          <p:cNvPr id="82" name="Rectangle 81">
            <a:extLst>
              <a:ext uri="{FF2B5EF4-FFF2-40B4-BE49-F238E27FC236}">
                <a16:creationId xmlns:a16="http://schemas.microsoft.com/office/drawing/2014/main" id="{6D05F42C-F79B-12DE-6C1A-C0C47B0A246C}"/>
              </a:ext>
            </a:extLst>
          </p:cNvPr>
          <p:cNvSpPr/>
          <p:nvPr/>
        </p:nvSpPr>
        <p:spPr>
          <a:xfrm>
            <a:off x="4156415" y="4603908"/>
            <a:ext cx="1116000" cy="28105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Sensitive information (S)</a:t>
            </a:r>
          </a:p>
        </p:txBody>
      </p:sp>
      <p:sp>
        <p:nvSpPr>
          <p:cNvPr id="83" name="Rectangle 82">
            <a:extLst>
              <a:ext uri="{FF2B5EF4-FFF2-40B4-BE49-F238E27FC236}">
                <a16:creationId xmlns:a16="http://schemas.microsoft.com/office/drawing/2014/main" id="{95F85918-2284-2279-B49C-176513263DAB}"/>
              </a:ext>
            </a:extLst>
          </p:cNvPr>
          <p:cNvSpPr/>
          <p:nvPr/>
        </p:nvSpPr>
        <p:spPr>
          <a:xfrm>
            <a:off x="5395753" y="5307132"/>
            <a:ext cx="1044000" cy="281053"/>
          </a:xfrm>
          <a:prstGeom prst="rect">
            <a:avLst/>
          </a:prstGeom>
          <a:solidFill>
            <a:schemeClr val="bg1">
              <a:lumMod val="95000"/>
            </a:schemeClr>
          </a:solidFill>
          <a:ln w="6350">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Region tag</a:t>
            </a:r>
          </a:p>
        </p:txBody>
      </p:sp>
      <p:sp>
        <p:nvSpPr>
          <p:cNvPr id="84" name="Rectangle 83">
            <a:extLst>
              <a:ext uri="{FF2B5EF4-FFF2-40B4-BE49-F238E27FC236}">
                <a16:creationId xmlns:a16="http://schemas.microsoft.com/office/drawing/2014/main" id="{2C72616E-DDE4-3139-D6E2-77A199BBEBD5}"/>
              </a:ext>
            </a:extLst>
          </p:cNvPr>
          <p:cNvSpPr/>
          <p:nvPr/>
        </p:nvSpPr>
        <p:spPr>
          <a:xfrm>
            <a:off x="5395753" y="5657489"/>
            <a:ext cx="1044000" cy="281053"/>
          </a:xfrm>
          <a:prstGeom prst="rect">
            <a:avLst/>
          </a:prstGeom>
          <a:solidFill>
            <a:schemeClr val="bg1">
              <a:lumMod val="95000"/>
            </a:schemeClr>
          </a:solidFill>
          <a:ln w="6350">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Scheme tag</a:t>
            </a:r>
          </a:p>
        </p:txBody>
      </p:sp>
      <p:sp>
        <p:nvSpPr>
          <p:cNvPr id="85" name="Rectangle 84">
            <a:extLst>
              <a:ext uri="{FF2B5EF4-FFF2-40B4-BE49-F238E27FC236}">
                <a16:creationId xmlns:a16="http://schemas.microsoft.com/office/drawing/2014/main" id="{84EF5E1E-EDC4-E64F-706A-593293040A2B}"/>
              </a:ext>
            </a:extLst>
          </p:cNvPr>
          <p:cNvSpPr/>
          <p:nvPr/>
        </p:nvSpPr>
        <p:spPr>
          <a:xfrm>
            <a:off x="5395753" y="4955520"/>
            <a:ext cx="1044000" cy="281053"/>
          </a:xfrm>
          <a:prstGeom prst="rect">
            <a:avLst/>
          </a:prstGeom>
          <a:solidFill>
            <a:schemeClr val="bg1">
              <a:lumMod val="95000"/>
            </a:schemeClr>
          </a:solidFill>
          <a:ln w="6350">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Stakeholder tag</a:t>
            </a:r>
          </a:p>
        </p:txBody>
      </p:sp>
      <p:sp>
        <p:nvSpPr>
          <p:cNvPr id="86" name="Rectangle 85">
            <a:extLst>
              <a:ext uri="{FF2B5EF4-FFF2-40B4-BE49-F238E27FC236}">
                <a16:creationId xmlns:a16="http://schemas.microsoft.com/office/drawing/2014/main" id="{A25ADF9F-9CCD-433B-50FA-9D479FED7491}"/>
              </a:ext>
            </a:extLst>
          </p:cNvPr>
          <p:cNvSpPr/>
          <p:nvPr/>
        </p:nvSpPr>
        <p:spPr>
          <a:xfrm>
            <a:off x="5395753" y="4603908"/>
            <a:ext cx="1044000" cy="281053"/>
          </a:xfrm>
          <a:prstGeom prst="rect">
            <a:avLst/>
          </a:prstGeom>
          <a:solidFill>
            <a:schemeClr val="bg1">
              <a:lumMod val="95000"/>
            </a:schemeClr>
          </a:solidFill>
          <a:ln w="6350">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Entity tag</a:t>
            </a:r>
          </a:p>
        </p:txBody>
      </p:sp>
      <p:cxnSp>
        <p:nvCxnSpPr>
          <p:cNvPr id="87" name="Straight Connector 86">
            <a:extLst>
              <a:ext uri="{FF2B5EF4-FFF2-40B4-BE49-F238E27FC236}">
                <a16:creationId xmlns:a16="http://schemas.microsoft.com/office/drawing/2014/main" id="{FA3968A7-3890-2FA0-AC5A-CD61DCBBAD98}"/>
              </a:ext>
            </a:extLst>
          </p:cNvPr>
          <p:cNvCxnSpPr>
            <a:cxnSpLocks/>
            <a:stCxn id="72" idx="3"/>
            <a:endCxn id="74" idx="1"/>
          </p:cNvCxnSpPr>
          <p:nvPr/>
        </p:nvCxnSpPr>
        <p:spPr>
          <a:xfrm>
            <a:off x="2643628" y="5798016"/>
            <a:ext cx="31608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4D3998A5-B987-D5F8-E2C6-60943FC0F39A}"/>
              </a:ext>
            </a:extLst>
          </p:cNvPr>
          <p:cNvCxnSpPr>
            <a:cxnSpLocks/>
            <a:stCxn id="72" idx="3"/>
            <a:endCxn id="73" idx="1"/>
          </p:cNvCxnSpPr>
          <p:nvPr/>
        </p:nvCxnSpPr>
        <p:spPr>
          <a:xfrm flipV="1">
            <a:off x="2643628" y="5447659"/>
            <a:ext cx="316085" cy="350357"/>
          </a:xfrm>
          <a:prstGeom prst="bentConnector3">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F0877AF9-75BB-C395-495B-A41C10C69C9D}"/>
              </a:ext>
            </a:extLst>
          </p:cNvPr>
          <p:cNvCxnSpPr>
            <a:cxnSpLocks/>
            <a:stCxn id="72" idx="3"/>
            <a:endCxn id="75" idx="1"/>
          </p:cNvCxnSpPr>
          <p:nvPr/>
        </p:nvCxnSpPr>
        <p:spPr>
          <a:xfrm flipV="1">
            <a:off x="2643628" y="5096047"/>
            <a:ext cx="316085" cy="701969"/>
          </a:xfrm>
          <a:prstGeom prst="bentConnector3">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7FAAB6C4-D2F0-C8B7-B839-47598CDF15CA}"/>
              </a:ext>
            </a:extLst>
          </p:cNvPr>
          <p:cNvCxnSpPr>
            <a:stCxn id="75" idx="3"/>
            <a:endCxn id="82" idx="1"/>
          </p:cNvCxnSpPr>
          <p:nvPr/>
        </p:nvCxnSpPr>
        <p:spPr>
          <a:xfrm flipV="1">
            <a:off x="3967713" y="4744435"/>
            <a:ext cx="188702" cy="351612"/>
          </a:xfrm>
          <a:prstGeom prst="bentConnector3">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7275A031-7E32-8A74-5C1E-B74D9D6C0F5F}"/>
              </a:ext>
            </a:extLst>
          </p:cNvPr>
          <p:cNvCxnSpPr>
            <a:stCxn id="75" idx="3"/>
            <a:endCxn id="79" idx="1"/>
          </p:cNvCxnSpPr>
          <p:nvPr/>
        </p:nvCxnSpPr>
        <p:spPr>
          <a:xfrm>
            <a:off x="3967713" y="5096047"/>
            <a:ext cx="188702" cy="351612"/>
          </a:xfrm>
          <a:prstGeom prst="bentConnector3">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CB20257D-7ED6-ADE3-F541-6B3C0F6CA4A5}"/>
              </a:ext>
            </a:extLst>
          </p:cNvPr>
          <p:cNvCxnSpPr>
            <a:stCxn id="75" idx="3"/>
            <a:endCxn id="80" idx="1"/>
          </p:cNvCxnSpPr>
          <p:nvPr/>
        </p:nvCxnSpPr>
        <p:spPr>
          <a:xfrm>
            <a:off x="3967713" y="5096047"/>
            <a:ext cx="188702" cy="701969"/>
          </a:xfrm>
          <a:prstGeom prst="bentConnector3">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AAE4FEC-85FC-0D8E-7F78-04FA08A0E435}"/>
              </a:ext>
            </a:extLst>
          </p:cNvPr>
          <p:cNvCxnSpPr>
            <a:stCxn id="75" idx="3"/>
            <a:endCxn id="81" idx="1"/>
          </p:cNvCxnSpPr>
          <p:nvPr/>
        </p:nvCxnSpPr>
        <p:spPr>
          <a:xfrm>
            <a:off x="3967713" y="5096047"/>
            <a:ext cx="188702"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0786370C-8BDA-51D7-2C85-37B0E5C6417A}"/>
              </a:ext>
            </a:extLst>
          </p:cNvPr>
          <p:cNvSpPr/>
          <p:nvPr/>
        </p:nvSpPr>
        <p:spPr>
          <a:xfrm>
            <a:off x="558353" y="2806795"/>
            <a:ext cx="900000" cy="281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tx2"/>
                </a:solidFill>
              </a:rPr>
              <a:t>Hub site</a:t>
            </a:r>
          </a:p>
        </p:txBody>
      </p:sp>
      <p:sp>
        <p:nvSpPr>
          <p:cNvPr id="95" name="Rectangle 94">
            <a:extLst>
              <a:ext uri="{FF2B5EF4-FFF2-40B4-BE49-F238E27FC236}">
                <a16:creationId xmlns:a16="http://schemas.microsoft.com/office/drawing/2014/main" id="{B6E8C8DC-CF1F-8B36-B7F0-26CFADEBEE37}"/>
              </a:ext>
            </a:extLst>
          </p:cNvPr>
          <p:cNvSpPr/>
          <p:nvPr/>
        </p:nvSpPr>
        <p:spPr>
          <a:xfrm>
            <a:off x="558354" y="3144063"/>
            <a:ext cx="1121442" cy="1960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n-AU" sz="894">
                <a:solidFill>
                  <a:schemeClr val="tx2"/>
                </a:solidFill>
              </a:rPr>
              <a:t>A hub site sits above all site-collections and </a:t>
            </a:r>
            <a:r>
              <a:rPr lang="en-AU" sz="894" b="1">
                <a:solidFill>
                  <a:schemeClr val="tx2"/>
                </a:solidFill>
              </a:rPr>
              <a:t>provide a centralised location for employees to search for information and documents across all files</a:t>
            </a:r>
            <a:r>
              <a:rPr lang="en-AU" sz="894">
                <a:solidFill>
                  <a:schemeClr val="tx2"/>
                </a:solidFill>
              </a:rPr>
              <a:t>. This is enabled through a consistent library structure, and disciplined use of metadata tags.</a:t>
            </a:r>
          </a:p>
        </p:txBody>
      </p:sp>
      <p:sp>
        <p:nvSpPr>
          <p:cNvPr id="96" name="Rectangle 95">
            <a:extLst>
              <a:ext uri="{FF2B5EF4-FFF2-40B4-BE49-F238E27FC236}">
                <a16:creationId xmlns:a16="http://schemas.microsoft.com/office/drawing/2014/main" id="{56106896-07E3-E4F6-7980-402D6E39C7CE}"/>
              </a:ext>
            </a:extLst>
          </p:cNvPr>
          <p:cNvSpPr/>
          <p:nvPr/>
        </p:nvSpPr>
        <p:spPr>
          <a:xfrm>
            <a:off x="553609" y="5657489"/>
            <a:ext cx="900000" cy="28105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94" b="1">
                <a:solidFill>
                  <a:schemeClr val="bg1"/>
                </a:solidFill>
              </a:rPr>
              <a:t>Hub Site</a:t>
            </a:r>
          </a:p>
        </p:txBody>
      </p:sp>
      <p:cxnSp>
        <p:nvCxnSpPr>
          <p:cNvPr id="97" name="Straight Connector 96">
            <a:extLst>
              <a:ext uri="{FF2B5EF4-FFF2-40B4-BE49-F238E27FC236}">
                <a16:creationId xmlns:a16="http://schemas.microsoft.com/office/drawing/2014/main" id="{38CCF95F-81D4-B397-02A0-D52A5754B754}"/>
              </a:ext>
            </a:extLst>
          </p:cNvPr>
          <p:cNvCxnSpPr>
            <a:cxnSpLocks/>
            <a:stCxn id="96" idx="3"/>
            <a:endCxn id="72" idx="1"/>
          </p:cNvCxnSpPr>
          <p:nvPr/>
        </p:nvCxnSpPr>
        <p:spPr>
          <a:xfrm>
            <a:off x="1453609" y="5798016"/>
            <a:ext cx="252252"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61014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FC2B5-037B-D93E-1C77-2C8359BFE0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1C5FC2B5-037B-D93E-1C77-2C8359BFE0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1CE8BB-9964-A834-990C-0EEC2F4615AC}"/>
              </a:ext>
            </a:extLst>
          </p:cNvPr>
          <p:cNvSpPr>
            <a:spLocks noGrp="1"/>
          </p:cNvSpPr>
          <p:nvPr>
            <p:ph type="title"/>
          </p:nvPr>
        </p:nvSpPr>
        <p:spPr>
          <a:xfrm>
            <a:off x="539999" y="548681"/>
            <a:ext cx="8820000" cy="341618"/>
          </a:xfrm>
        </p:spPr>
        <p:txBody>
          <a:bodyPr vert="horz"/>
          <a:lstStyle/>
          <a:p>
            <a:r>
              <a:rPr lang="en-AU"/>
              <a:t>Interim actions can improve collaboration without a complete re-design</a:t>
            </a:r>
          </a:p>
        </p:txBody>
      </p:sp>
      <p:sp>
        <p:nvSpPr>
          <p:cNvPr id="15" name="Content Placeholder 10">
            <a:extLst>
              <a:ext uri="{FF2B5EF4-FFF2-40B4-BE49-F238E27FC236}">
                <a16:creationId xmlns:a16="http://schemas.microsoft.com/office/drawing/2014/main" id="{88044BCB-EFE0-3A33-CE60-23C8FDEAF27B}"/>
              </a:ext>
            </a:extLst>
          </p:cNvPr>
          <p:cNvSpPr txBox="1">
            <a:spLocks/>
          </p:cNvSpPr>
          <p:nvPr/>
        </p:nvSpPr>
        <p:spPr>
          <a:xfrm>
            <a:off x="539999" y="1178938"/>
            <a:ext cx="8824635" cy="681968"/>
          </a:xfrm>
          <a:prstGeom prst="rect">
            <a:avLst/>
          </a:prstGeom>
          <a:noFill/>
        </p:spPr>
        <p:txBody>
          <a:bodyPr vert="horz" lIns="36000" tIns="36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200">
                <a:cs typeface="Segoe UI"/>
              </a:rPr>
              <a:t>Three actions for improving collaboration in the interim are outlined below. These actions are not exclusive – implementing more than one option will provide cumulative benefits. Pros and cons are provided for each action</a:t>
            </a:r>
          </a:p>
        </p:txBody>
      </p:sp>
      <p:sp>
        <p:nvSpPr>
          <p:cNvPr id="30" name="Text Placeholder 7">
            <a:extLst>
              <a:ext uri="{FF2B5EF4-FFF2-40B4-BE49-F238E27FC236}">
                <a16:creationId xmlns:a16="http://schemas.microsoft.com/office/drawing/2014/main" id="{189870B5-3BD3-B1B8-E723-ED7702045A6C}"/>
              </a:ext>
            </a:extLst>
          </p:cNvPr>
          <p:cNvSpPr txBox="1">
            <a:spLocks/>
          </p:cNvSpPr>
          <p:nvPr/>
        </p:nvSpPr>
        <p:spPr>
          <a:xfrm>
            <a:off x="544481" y="3240476"/>
            <a:ext cx="2808000" cy="2931724"/>
          </a:xfrm>
          <a:prstGeom prst="rect">
            <a:avLst/>
          </a:prstGeom>
          <a:solidFill>
            <a:schemeClr val="bg1"/>
          </a:solidFill>
        </p:spPr>
        <p:txBody>
          <a:bodyPr wrap="square" lIns="90000" tIns="72000" rIns="108000" bIns="72000" anchor="t">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200"/>
              </a:spcAft>
              <a:buClr>
                <a:schemeClr val="accent4"/>
              </a:buClr>
              <a:buFont typeface="Wingdings" panose="05000000000000000000" pitchFamily="2" charset="2"/>
              <a:buChar char="ü"/>
            </a:pPr>
            <a:r>
              <a:rPr lang="en-AU" sz="1000" dirty="0">
                <a:solidFill>
                  <a:schemeClr val="tx2"/>
                </a:solidFill>
                <a:effectLst/>
                <a:latin typeface="VIC" panose="00000500000000000000" pitchFamily="50" charset="0"/>
                <a:ea typeface="Calibri" panose="020F0502020204030204" pitchFamily="34" charset="0"/>
                <a:cs typeface="Segoe UI Semibold"/>
              </a:rPr>
              <a:t>Open permissions removes the bottle-neck of accessing information across teams, enabling faster information retrieval.</a:t>
            </a:r>
          </a:p>
          <a:p>
            <a:pPr marL="171450" indent="-171450">
              <a:spcBef>
                <a:spcPts val="0"/>
              </a:spcBef>
              <a:spcAft>
                <a:spcPts val="200"/>
              </a:spcAft>
              <a:buClr>
                <a:schemeClr val="accent4"/>
              </a:buClr>
              <a:buFont typeface="Wingdings" panose="05000000000000000000" pitchFamily="2" charset="2"/>
              <a:buChar char="ü"/>
            </a:pPr>
            <a:r>
              <a:rPr lang="en-AU" sz="1000" dirty="0">
                <a:solidFill>
                  <a:schemeClr val="tx2"/>
                </a:solidFill>
                <a:effectLst/>
                <a:latin typeface="VIC" panose="00000500000000000000" pitchFamily="50" charset="0"/>
                <a:ea typeface="Calibri" panose="020F0502020204030204" pitchFamily="34" charset="0"/>
                <a:cs typeface="Segoe UI Semibold"/>
              </a:rPr>
              <a:t>Cross-team collaboration is streamlined, enabling employees to work on the same files.</a:t>
            </a:r>
          </a:p>
          <a:p>
            <a:pPr marL="171450" indent="-171450">
              <a:spcBef>
                <a:spcPts val="0"/>
              </a:spcBef>
              <a:spcAft>
                <a:spcPts val="200"/>
              </a:spcAft>
              <a:buClr>
                <a:srgbClr val="FF0000"/>
              </a:buClr>
              <a:buFont typeface="Wingdings 2" panose="05020102010507070707" pitchFamily="18" charset="2"/>
              <a:buChar char=""/>
            </a:pPr>
            <a:r>
              <a:rPr lang="en-AU" sz="1000" dirty="0">
                <a:solidFill>
                  <a:schemeClr val="tx2"/>
                </a:solidFill>
                <a:effectLst/>
                <a:latin typeface="VIC" panose="00000500000000000000" pitchFamily="50" charset="0"/>
                <a:ea typeface="Calibri" panose="020F0502020204030204" pitchFamily="34" charset="0"/>
                <a:cs typeface="Segoe UI Semibold"/>
              </a:rPr>
              <a:t>Greater risk of security breaches for sensitive or commercially sensitive information. There is an increased emphasis on securing specific folders or libraries to address this. Sensitive files must be locked on a folder level or individually.</a:t>
            </a:r>
          </a:p>
          <a:p>
            <a:pPr marL="171450" indent="-171450">
              <a:spcBef>
                <a:spcPts val="0"/>
              </a:spcBef>
              <a:spcAft>
                <a:spcPts val="200"/>
              </a:spcAft>
              <a:buClr>
                <a:srgbClr val="FF0000"/>
              </a:buClr>
              <a:buFont typeface="Wingdings 2" panose="05020102010507070707" pitchFamily="18" charset="2"/>
              <a:buChar char=""/>
            </a:pPr>
            <a:r>
              <a:rPr lang="en-AU" sz="1000" dirty="0">
                <a:solidFill>
                  <a:schemeClr val="tx2"/>
                </a:solidFill>
                <a:effectLst/>
                <a:latin typeface="VIC" panose="00000500000000000000" pitchFamily="50" charset="0"/>
                <a:ea typeface="Calibri" panose="020F0502020204030204" pitchFamily="34" charset="0"/>
                <a:cs typeface="Segoe UI Semibold"/>
              </a:rPr>
              <a:t>Unfamiliar folder structures can be difficult to navigate, retaining current challenges with document retrieval. Employee training can address this.</a:t>
            </a:r>
          </a:p>
        </p:txBody>
      </p:sp>
      <p:grpSp>
        <p:nvGrpSpPr>
          <p:cNvPr id="43" name="Group 42">
            <a:extLst>
              <a:ext uri="{FF2B5EF4-FFF2-40B4-BE49-F238E27FC236}">
                <a16:creationId xmlns:a16="http://schemas.microsoft.com/office/drawing/2014/main" id="{EBF86891-D4B2-36C3-BDEC-AA9FE05AB2B0}"/>
              </a:ext>
            </a:extLst>
          </p:cNvPr>
          <p:cNvGrpSpPr/>
          <p:nvPr/>
        </p:nvGrpSpPr>
        <p:grpSpPr>
          <a:xfrm>
            <a:off x="544481" y="1748553"/>
            <a:ext cx="2808000" cy="360000"/>
            <a:chOff x="551940" y="2530177"/>
            <a:chExt cx="4198844" cy="497377"/>
          </a:xfrm>
        </p:grpSpPr>
        <p:grpSp>
          <p:nvGrpSpPr>
            <p:cNvPr id="59" name="Group 58">
              <a:extLst>
                <a:ext uri="{FF2B5EF4-FFF2-40B4-BE49-F238E27FC236}">
                  <a16:creationId xmlns:a16="http://schemas.microsoft.com/office/drawing/2014/main" id="{51D3BB1E-0A55-9568-F292-87ECAE82A18A}"/>
                </a:ext>
              </a:extLst>
            </p:cNvPr>
            <p:cNvGrpSpPr/>
            <p:nvPr/>
          </p:nvGrpSpPr>
          <p:grpSpPr>
            <a:xfrm>
              <a:off x="2771463" y="2530177"/>
              <a:ext cx="1979321" cy="497367"/>
              <a:chOff x="2819088" y="2528600"/>
              <a:chExt cx="1979321" cy="490801"/>
            </a:xfrm>
          </p:grpSpPr>
          <p:sp>
            <p:nvSpPr>
              <p:cNvPr id="63" name="Freeform: Shape 62">
                <a:extLst>
                  <a:ext uri="{FF2B5EF4-FFF2-40B4-BE49-F238E27FC236}">
                    <a16:creationId xmlns:a16="http://schemas.microsoft.com/office/drawing/2014/main" id="{3311DAC5-560E-AFA7-7966-9596657DCAE8}"/>
                  </a:ext>
                </a:extLst>
              </p:cNvPr>
              <p:cNvSpPr/>
              <p:nvPr/>
            </p:nvSpPr>
            <p:spPr>
              <a:xfrm>
                <a:off x="2819088" y="2528600"/>
                <a:ext cx="1979321" cy="490801"/>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50"/>
              </a:p>
            </p:txBody>
          </p:sp>
          <p:sp>
            <p:nvSpPr>
              <p:cNvPr id="65" name="Freeform: Shape 64">
                <a:extLst>
                  <a:ext uri="{FF2B5EF4-FFF2-40B4-BE49-F238E27FC236}">
                    <a16:creationId xmlns:a16="http://schemas.microsoft.com/office/drawing/2014/main" id="{E9FF1E7A-2E29-344E-E330-DFC2E241A02A}"/>
                  </a:ext>
                </a:extLst>
              </p:cNvPr>
              <p:cNvSpPr/>
              <p:nvPr/>
            </p:nvSpPr>
            <p:spPr>
              <a:xfrm>
                <a:off x="4244921" y="2529160"/>
                <a:ext cx="448277" cy="490241"/>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sz="1050"/>
              </a:p>
            </p:txBody>
          </p:sp>
        </p:grpSp>
        <p:grpSp>
          <p:nvGrpSpPr>
            <p:cNvPr id="60" name="Group 59">
              <a:extLst>
                <a:ext uri="{FF2B5EF4-FFF2-40B4-BE49-F238E27FC236}">
                  <a16:creationId xmlns:a16="http://schemas.microsoft.com/office/drawing/2014/main" id="{A1E8E87A-B0BA-CC79-3011-1AED704283AF}"/>
                </a:ext>
              </a:extLst>
            </p:cNvPr>
            <p:cNvGrpSpPr>
              <a:grpSpLocks noChangeAspect="1"/>
            </p:cNvGrpSpPr>
            <p:nvPr/>
          </p:nvGrpSpPr>
          <p:grpSpPr>
            <a:xfrm>
              <a:off x="551940" y="2530186"/>
              <a:ext cx="3924810" cy="497368"/>
              <a:chOff x="699941" y="2034231"/>
              <a:chExt cx="1692000" cy="576024"/>
            </a:xfrm>
            <a:solidFill>
              <a:schemeClr val="accent3"/>
            </a:solidFill>
          </p:grpSpPr>
          <p:sp>
            <p:nvSpPr>
              <p:cNvPr id="61" name="Freeform: Shape 60">
                <a:extLst>
                  <a:ext uri="{FF2B5EF4-FFF2-40B4-BE49-F238E27FC236}">
                    <a16:creationId xmlns:a16="http://schemas.microsoft.com/office/drawing/2014/main" id="{7580CCDB-E9FD-6870-3994-5B1C1A564FAA}"/>
                  </a:ext>
                </a:extLst>
              </p:cNvPr>
              <p:cNvSpPr/>
              <p:nvPr/>
            </p:nvSpPr>
            <p:spPr>
              <a:xfrm>
                <a:off x="699941" y="2034231"/>
                <a:ext cx="1692000" cy="576024"/>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50"/>
              </a:p>
            </p:txBody>
          </p:sp>
          <p:sp>
            <p:nvSpPr>
              <p:cNvPr id="62" name="Text Placeholder 14">
                <a:extLst>
                  <a:ext uri="{FF2B5EF4-FFF2-40B4-BE49-F238E27FC236}">
                    <a16:creationId xmlns:a16="http://schemas.microsoft.com/office/drawing/2014/main" id="{41F0850A-8AD6-1E57-08E1-945177257939}"/>
                  </a:ext>
                </a:extLst>
              </p:cNvPr>
              <p:cNvSpPr txBox="1">
                <a:spLocks/>
              </p:cNvSpPr>
              <p:nvPr/>
            </p:nvSpPr>
            <p:spPr>
              <a:xfrm>
                <a:off x="732830" y="2216987"/>
                <a:ext cx="1493280" cy="219587"/>
              </a:xfrm>
              <a:prstGeom prst="rect">
                <a:avLst/>
              </a:prstGeom>
              <a:no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AU" sz="1100" b="1">
                    <a:solidFill>
                      <a:schemeClr val="bg1"/>
                    </a:solidFill>
                    <a:latin typeface="VIC SemiBold" panose="00000700000000000000" pitchFamily="50" charset="0"/>
                    <a:cs typeface="Segoe UI Semibold" panose="020B0702040204020203" pitchFamily="34" charset="0"/>
                  </a:rPr>
                  <a:t>ACTION 1: Open permissions</a:t>
                </a:r>
              </a:p>
            </p:txBody>
          </p:sp>
        </p:grpSp>
      </p:grpSp>
      <p:sp>
        <p:nvSpPr>
          <p:cNvPr id="55" name="Rectangle 54">
            <a:extLst>
              <a:ext uri="{FF2B5EF4-FFF2-40B4-BE49-F238E27FC236}">
                <a16:creationId xmlns:a16="http://schemas.microsoft.com/office/drawing/2014/main" id="{0C4BD55A-287C-2705-2B79-52DED6828870}"/>
              </a:ext>
            </a:extLst>
          </p:cNvPr>
          <p:cNvSpPr/>
          <p:nvPr/>
        </p:nvSpPr>
        <p:spPr>
          <a:xfrm>
            <a:off x="544481" y="2108294"/>
            <a:ext cx="2808000" cy="1132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r>
              <a:rPr lang="en-AU" sz="1000" i="1">
                <a:solidFill>
                  <a:schemeClr val="tx2"/>
                </a:solidFill>
                <a:latin typeface="+mj-lt"/>
                <a:cs typeface="Segoe UI Semilight"/>
              </a:rPr>
              <a:t>This action involves modifying system permission settings to grant all employees access to every site collection within the system, effectively removing restrictions that prevent users from accessing files outside of their immediate teams. </a:t>
            </a:r>
            <a:endParaRPr lang="en-AU" sz="1000">
              <a:solidFill>
                <a:schemeClr val="tx2"/>
              </a:solidFill>
              <a:latin typeface="+mj-lt"/>
              <a:cs typeface="Segoe UI Semilight"/>
            </a:endParaRPr>
          </a:p>
        </p:txBody>
      </p:sp>
      <p:sp>
        <p:nvSpPr>
          <p:cNvPr id="32" name="Text Placeholder 7">
            <a:extLst>
              <a:ext uri="{FF2B5EF4-FFF2-40B4-BE49-F238E27FC236}">
                <a16:creationId xmlns:a16="http://schemas.microsoft.com/office/drawing/2014/main" id="{2AF30CC0-AE14-74C7-54D4-63D11E8B0247}"/>
              </a:ext>
            </a:extLst>
          </p:cNvPr>
          <p:cNvSpPr txBox="1">
            <a:spLocks/>
          </p:cNvSpPr>
          <p:nvPr/>
        </p:nvSpPr>
        <p:spPr>
          <a:xfrm>
            <a:off x="3602240" y="3240471"/>
            <a:ext cx="2700000" cy="2931724"/>
          </a:xfrm>
          <a:prstGeom prst="rect">
            <a:avLst/>
          </a:prstGeom>
          <a:solidFill>
            <a:schemeClr val="bg1"/>
          </a:solidFill>
        </p:spPr>
        <p:txBody>
          <a:bodyPr wrap="square" lIns="90000" tIns="72000" rIns="108000" bIns="72000" anchor="t">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200"/>
              </a:spcAft>
              <a:buClr>
                <a:schemeClr val="accent4"/>
              </a:buClr>
              <a:buFont typeface="Wingdings" panose="05000000000000000000" pitchFamily="2" charset="2"/>
              <a:buChar char="ü"/>
            </a:pPr>
            <a:r>
              <a:rPr lang="en-AU" sz="1000">
                <a:solidFill>
                  <a:schemeClr val="tx2"/>
                </a:solidFill>
                <a:effectLst/>
                <a:latin typeface="VIC" panose="00000500000000000000" pitchFamily="50" charset="0"/>
                <a:ea typeface="Calibri" panose="020F0502020204030204" pitchFamily="34" charset="0"/>
                <a:cs typeface="Segoe UI Semibold"/>
              </a:rPr>
              <a:t>Hub-sites create a consolidated view of all site-collections, improving navigation and accessibility. </a:t>
            </a:r>
          </a:p>
          <a:p>
            <a:pPr marL="171450" indent="-171450">
              <a:spcBef>
                <a:spcPts val="0"/>
              </a:spcBef>
              <a:spcAft>
                <a:spcPts val="200"/>
              </a:spcAft>
              <a:buClr>
                <a:schemeClr val="accent4"/>
              </a:buClr>
              <a:buFont typeface="Wingdings" panose="05000000000000000000" pitchFamily="2" charset="2"/>
              <a:buChar char="ü"/>
            </a:pPr>
            <a:r>
              <a:rPr lang="en-AU" sz="1000">
                <a:solidFill>
                  <a:schemeClr val="tx2"/>
                </a:solidFill>
                <a:effectLst/>
                <a:latin typeface="VIC" panose="00000500000000000000" pitchFamily="50" charset="0"/>
                <a:ea typeface="Calibri" panose="020F0502020204030204" pitchFamily="34" charset="0"/>
                <a:cs typeface="Segoe UI Semibold"/>
              </a:rPr>
              <a:t>Improved search ability and aggregated information makes it easier for employees to find and filter information across site-collections. </a:t>
            </a:r>
          </a:p>
          <a:p>
            <a:pPr marL="171450" indent="-171450">
              <a:spcBef>
                <a:spcPts val="0"/>
              </a:spcBef>
              <a:spcAft>
                <a:spcPts val="200"/>
              </a:spcAft>
              <a:buClr>
                <a:srgbClr val="FF0000"/>
              </a:buClr>
              <a:buFont typeface="Wingdings 2" panose="05020102010507070707" pitchFamily="18" charset="2"/>
              <a:buChar char=""/>
            </a:pPr>
            <a:r>
              <a:rPr lang="en-AU" sz="1000">
                <a:solidFill>
                  <a:schemeClr val="tx2"/>
                </a:solidFill>
                <a:effectLst/>
                <a:latin typeface="VIC" panose="00000500000000000000" pitchFamily="50" charset="0"/>
                <a:ea typeface="Calibri" panose="020F0502020204030204" pitchFamily="34" charset="0"/>
                <a:cs typeface="Segoe UI Semibold"/>
              </a:rPr>
              <a:t>Creating a hub-site may require extensive reorganising of existing site collections to be useable, e.g., through standardising library structures. </a:t>
            </a:r>
          </a:p>
          <a:p>
            <a:pPr marL="171450" indent="-171450">
              <a:spcBef>
                <a:spcPts val="0"/>
              </a:spcBef>
              <a:spcAft>
                <a:spcPts val="200"/>
              </a:spcAft>
              <a:buClr>
                <a:srgbClr val="FF0000"/>
              </a:buClr>
              <a:buFont typeface="Wingdings 2" panose="05020102010507070707" pitchFamily="18" charset="2"/>
              <a:buChar char=""/>
            </a:pPr>
            <a:r>
              <a:rPr lang="en-AU" sz="1000">
                <a:solidFill>
                  <a:schemeClr val="tx2"/>
                </a:solidFill>
                <a:latin typeface="VIC" panose="00000500000000000000" pitchFamily="50" charset="0"/>
                <a:ea typeface="Calibri" panose="020F0502020204030204" pitchFamily="34" charset="0"/>
                <a:cs typeface="Segoe UI Semibold"/>
              </a:rPr>
              <a:t>There is additional effort required to create, maintain, and secure the hub site. </a:t>
            </a:r>
          </a:p>
          <a:p>
            <a:pPr marL="171450" indent="-171450">
              <a:spcBef>
                <a:spcPts val="0"/>
              </a:spcBef>
              <a:spcAft>
                <a:spcPts val="200"/>
              </a:spcAft>
              <a:buClr>
                <a:srgbClr val="FF0000"/>
              </a:buClr>
              <a:buFont typeface="Wingdings 2" panose="05020102010507070707" pitchFamily="18" charset="2"/>
              <a:buChar char=""/>
            </a:pPr>
            <a:r>
              <a:rPr lang="en-AU" sz="1000">
                <a:solidFill>
                  <a:schemeClr val="tx2"/>
                </a:solidFill>
                <a:effectLst/>
                <a:latin typeface="VIC" panose="00000500000000000000" pitchFamily="50" charset="0"/>
                <a:ea typeface="Calibri" panose="020F0502020204030204" pitchFamily="34" charset="0"/>
                <a:cs typeface="Segoe UI Semibold"/>
              </a:rPr>
              <a:t>Inconsistent use of meta-tags by employees will reduce the effectiveness of search via hub-s</a:t>
            </a:r>
            <a:r>
              <a:rPr lang="en-AU" sz="1000">
                <a:solidFill>
                  <a:schemeClr val="tx2"/>
                </a:solidFill>
                <a:latin typeface="VIC" panose="00000500000000000000" pitchFamily="50" charset="0"/>
                <a:ea typeface="Calibri" panose="020F0502020204030204" pitchFamily="34" charset="0"/>
                <a:cs typeface="Segoe UI Semibold"/>
              </a:rPr>
              <a:t>ite. </a:t>
            </a:r>
            <a:endParaRPr lang="en-AU" sz="1000">
              <a:solidFill>
                <a:schemeClr val="tx2"/>
              </a:solidFill>
              <a:effectLst/>
              <a:latin typeface="VIC" panose="00000500000000000000" pitchFamily="50" charset="0"/>
              <a:ea typeface="Calibri" panose="020F0502020204030204" pitchFamily="34" charset="0"/>
              <a:cs typeface="Segoe UI Semibold"/>
            </a:endParaRPr>
          </a:p>
        </p:txBody>
      </p:sp>
      <p:grpSp>
        <p:nvGrpSpPr>
          <p:cNvPr id="33" name="Group 32">
            <a:extLst>
              <a:ext uri="{FF2B5EF4-FFF2-40B4-BE49-F238E27FC236}">
                <a16:creationId xmlns:a16="http://schemas.microsoft.com/office/drawing/2014/main" id="{A564EB01-7545-DE33-172F-1AD0802E2BBD}"/>
              </a:ext>
            </a:extLst>
          </p:cNvPr>
          <p:cNvGrpSpPr/>
          <p:nvPr/>
        </p:nvGrpSpPr>
        <p:grpSpPr>
          <a:xfrm>
            <a:off x="3602240" y="1748549"/>
            <a:ext cx="2700000" cy="360000"/>
            <a:chOff x="551940" y="2530177"/>
            <a:chExt cx="4198844" cy="497373"/>
          </a:xfrm>
        </p:grpSpPr>
        <p:grpSp>
          <p:nvGrpSpPr>
            <p:cNvPr id="34" name="Group 33">
              <a:extLst>
                <a:ext uri="{FF2B5EF4-FFF2-40B4-BE49-F238E27FC236}">
                  <a16:creationId xmlns:a16="http://schemas.microsoft.com/office/drawing/2014/main" id="{A99B7067-1D95-13A0-A8A0-1366B314E57C}"/>
                </a:ext>
              </a:extLst>
            </p:cNvPr>
            <p:cNvGrpSpPr/>
            <p:nvPr/>
          </p:nvGrpSpPr>
          <p:grpSpPr>
            <a:xfrm>
              <a:off x="2771463" y="2530177"/>
              <a:ext cx="1979321" cy="497367"/>
              <a:chOff x="2819088" y="2528600"/>
              <a:chExt cx="1979321" cy="490801"/>
            </a:xfrm>
          </p:grpSpPr>
          <p:sp>
            <p:nvSpPr>
              <p:cNvPr id="38" name="Freeform: Shape 37">
                <a:extLst>
                  <a:ext uri="{FF2B5EF4-FFF2-40B4-BE49-F238E27FC236}">
                    <a16:creationId xmlns:a16="http://schemas.microsoft.com/office/drawing/2014/main" id="{573DA496-8389-E72C-3475-D525346B6E81}"/>
                  </a:ext>
                </a:extLst>
              </p:cNvPr>
              <p:cNvSpPr/>
              <p:nvPr/>
            </p:nvSpPr>
            <p:spPr>
              <a:xfrm>
                <a:off x="2819088" y="2528600"/>
                <a:ext cx="1979321" cy="490801"/>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50"/>
              </a:p>
            </p:txBody>
          </p:sp>
          <p:sp>
            <p:nvSpPr>
              <p:cNvPr id="39" name="Freeform: Shape 38">
                <a:extLst>
                  <a:ext uri="{FF2B5EF4-FFF2-40B4-BE49-F238E27FC236}">
                    <a16:creationId xmlns:a16="http://schemas.microsoft.com/office/drawing/2014/main" id="{B925B418-111D-8EC5-E1E7-954E5860F737}"/>
                  </a:ext>
                </a:extLst>
              </p:cNvPr>
              <p:cNvSpPr/>
              <p:nvPr/>
            </p:nvSpPr>
            <p:spPr>
              <a:xfrm>
                <a:off x="4244921" y="2529160"/>
                <a:ext cx="448277" cy="490241"/>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sz="1050"/>
              </a:p>
            </p:txBody>
          </p:sp>
        </p:grpSp>
        <p:grpSp>
          <p:nvGrpSpPr>
            <p:cNvPr id="35" name="Group 34">
              <a:extLst>
                <a:ext uri="{FF2B5EF4-FFF2-40B4-BE49-F238E27FC236}">
                  <a16:creationId xmlns:a16="http://schemas.microsoft.com/office/drawing/2014/main" id="{8BD0267D-81E0-A740-8E59-CC07E731228D}"/>
                </a:ext>
              </a:extLst>
            </p:cNvPr>
            <p:cNvGrpSpPr>
              <a:grpSpLocks noChangeAspect="1"/>
            </p:cNvGrpSpPr>
            <p:nvPr/>
          </p:nvGrpSpPr>
          <p:grpSpPr>
            <a:xfrm>
              <a:off x="551940" y="2530183"/>
              <a:ext cx="3924810" cy="497367"/>
              <a:chOff x="699941" y="2034231"/>
              <a:chExt cx="1692000" cy="576024"/>
            </a:xfrm>
            <a:solidFill>
              <a:schemeClr val="accent3"/>
            </a:solidFill>
          </p:grpSpPr>
          <p:sp>
            <p:nvSpPr>
              <p:cNvPr id="36" name="Freeform: Shape 35">
                <a:extLst>
                  <a:ext uri="{FF2B5EF4-FFF2-40B4-BE49-F238E27FC236}">
                    <a16:creationId xmlns:a16="http://schemas.microsoft.com/office/drawing/2014/main" id="{662E61FE-708E-752E-1739-3ABF2A2B0AA7}"/>
                  </a:ext>
                </a:extLst>
              </p:cNvPr>
              <p:cNvSpPr/>
              <p:nvPr/>
            </p:nvSpPr>
            <p:spPr>
              <a:xfrm>
                <a:off x="699941" y="2034231"/>
                <a:ext cx="1692000" cy="576024"/>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50"/>
              </a:p>
            </p:txBody>
          </p:sp>
          <p:sp>
            <p:nvSpPr>
              <p:cNvPr id="37" name="Text Placeholder 14">
                <a:extLst>
                  <a:ext uri="{FF2B5EF4-FFF2-40B4-BE49-F238E27FC236}">
                    <a16:creationId xmlns:a16="http://schemas.microsoft.com/office/drawing/2014/main" id="{44A36DB2-08DB-7764-14D3-C36E3DC45EBA}"/>
                  </a:ext>
                </a:extLst>
              </p:cNvPr>
              <p:cNvSpPr txBox="1">
                <a:spLocks/>
              </p:cNvSpPr>
              <p:nvPr/>
            </p:nvSpPr>
            <p:spPr>
              <a:xfrm>
                <a:off x="732830" y="2216987"/>
                <a:ext cx="1493280" cy="219587"/>
              </a:xfrm>
              <a:prstGeom prst="rect">
                <a:avLst/>
              </a:prstGeom>
              <a:no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AU" sz="1100" b="1">
                    <a:solidFill>
                      <a:schemeClr val="bg1"/>
                    </a:solidFill>
                    <a:latin typeface="VIC SemiBold" panose="00000700000000000000" pitchFamily="50" charset="0"/>
                    <a:cs typeface="Segoe UI Semibold" panose="020B0702040204020203" pitchFamily="34" charset="0"/>
                  </a:rPr>
                  <a:t>ACTION 2: Establish a hub site</a:t>
                </a:r>
              </a:p>
            </p:txBody>
          </p:sp>
        </p:grpSp>
      </p:grpSp>
      <p:sp>
        <p:nvSpPr>
          <p:cNvPr id="40" name="Rectangle 39">
            <a:extLst>
              <a:ext uri="{FF2B5EF4-FFF2-40B4-BE49-F238E27FC236}">
                <a16:creationId xmlns:a16="http://schemas.microsoft.com/office/drawing/2014/main" id="{2B08D256-0676-8D84-8FDC-C5BD1C254819}"/>
              </a:ext>
            </a:extLst>
          </p:cNvPr>
          <p:cNvSpPr/>
          <p:nvPr/>
        </p:nvSpPr>
        <p:spPr>
          <a:xfrm>
            <a:off x="3602240" y="2108295"/>
            <a:ext cx="2700000" cy="1132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r>
              <a:rPr lang="en-AU" sz="1000" i="1">
                <a:solidFill>
                  <a:schemeClr val="tx2"/>
                </a:solidFill>
                <a:latin typeface="+mj-lt"/>
                <a:cs typeface="Segoe UI Semilight"/>
              </a:rPr>
              <a:t>This action suggests creating a new hub-site as a top-level site to which site-collections are connected.  This hub-site acts as a central point for navigation, search and content aggregation across the associated site collections. </a:t>
            </a:r>
            <a:endParaRPr lang="en-AU" sz="1000">
              <a:solidFill>
                <a:schemeClr val="tx2"/>
              </a:solidFill>
              <a:latin typeface="+mj-lt"/>
              <a:cs typeface="Segoe UI Semilight"/>
            </a:endParaRPr>
          </a:p>
        </p:txBody>
      </p:sp>
      <p:sp>
        <p:nvSpPr>
          <p:cNvPr id="42" name="Text Placeholder 7">
            <a:extLst>
              <a:ext uri="{FF2B5EF4-FFF2-40B4-BE49-F238E27FC236}">
                <a16:creationId xmlns:a16="http://schemas.microsoft.com/office/drawing/2014/main" id="{AFA7F35F-405A-195B-0830-FEA8111794AB}"/>
              </a:ext>
            </a:extLst>
          </p:cNvPr>
          <p:cNvSpPr txBox="1">
            <a:spLocks/>
          </p:cNvSpPr>
          <p:nvPr/>
        </p:nvSpPr>
        <p:spPr>
          <a:xfrm>
            <a:off x="6659999" y="3240466"/>
            <a:ext cx="2700000" cy="2931724"/>
          </a:xfrm>
          <a:prstGeom prst="rect">
            <a:avLst/>
          </a:prstGeom>
          <a:solidFill>
            <a:schemeClr val="bg1"/>
          </a:solidFill>
        </p:spPr>
        <p:txBody>
          <a:bodyPr wrap="square" lIns="90000" tIns="72000" rIns="108000" bIns="72000" anchor="t">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0"/>
              </a:spcBef>
              <a:spcAft>
                <a:spcPts val="200"/>
              </a:spcAft>
              <a:buClr>
                <a:schemeClr val="accent4"/>
              </a:buClr>
              <a:buFont typeface="Wingdings" panose="05000000000000000000" pitchFamily="2" charset="2"/>
              <a:buChar char="ü"/>
            </a:pPr>
            <a:r>
              <a:rPr lang="en-AU" sz="1000">
                <a:solidFill>
                  <a:schemeClr val="tx2"/>
                </a:solidFill>
                <a:effectLst/>
                <a:latin typeface="VIC" panose="00000500000000000000" pitchFamily="50" charset="0"/>
                <a:ea typeface="Calibri" panose="020F0502020204030204" pitchFamily="34" charset="0"/>
                <a:cs typeface="Segoe UI Semibold"/>
              </a:rPr>
              <a:t>Improves the searchability of documents -across all site-collections through efficient filtering for retrieval.</a:t>
            </a:r>
          </a:p>
          <a:p>
            <a:pPr marL="171450" indent="-171450">
              <a:spcBef>
                <a:spcPts val="0"/>
              </a:spcBef>
              <a:spcAft>
                <a:spcPts val="200"/>
              </a:spcAft>
              <a:buClr>
                <a:schemeClr val="accent4"/>
              </a:buClr>
              <a:buFont typeface="Wingdings" panose="05000000000000000000" pitchFamily="2" charset="2"/>
              <a:buChar char="ü"/>
            </a:pPr>
            <a:r>
              <a:rPr lang="en-AU" sz="1000">
                <a:solidFill>
                  <a:schemeClr val="tx2"/>
                </a:solidFill>
                <a:latin typeface="VIC" panose="00000500000000000000" pitchFamily="50" charset="0"/>
                <a:ea typeface="Calibri" panose="020F0502020204030204" pitchFamily="34" charset="0"/>
                <a:cs typeface="Segoe UI Semibold"/>
              </a:rPr>
              <a:t>Creates an efficient and scalable approach to manage documents and content across the organisation. </a:t>
            </a:r>
            <a:endParaRPr lang="en-AU" sz="1000">
              <a:solidFill>
                <a:schemeClr val="tx2"/>
              </a:solidFill>
              <a:effectLst/>
              <a:latin typeface="VIC" panose="00000500000000000000" pitchFamily="50" charset="0"/>
              <a:ea typeface="Calibri" panose="020F0502020204030204" pitchFamily="34" charset="0"/>
              <a:cs typeface="Segoe UI Semibold"/>
            </a:endParaRPr>
          </a:p>
          <a:p>
            <a:pPr marL="171450" indent="-171450">
              <a:spcBef>
                <a:spcPts val="0"/>
              </a:spcBef>
              <a:spcAft>
                <a:spcPts val="200"/>
              </a:spcAft>
              <a:buClr>
                <a:srgbClr val="FF0000"/>
              </a:buClr>
              <a:buFont typeface="Wingdings 2" panose="05020102010507070707" pitchFamily="18" charset="2"/>
              <a:buChar char=""/>
            </a:pPr>
            <a:r>
              <a:rPr lang="en-AU" sz="1000">
                <a:solidFill>
                  <a:schemeClr val="tx2"/>
                </a:solidFill>
                <a:effectLst/>
                <a:latin typeface="VIC" panose="00000500000000000000" pitchFamily="50" charset="0"/>
                <a:ea typeface="Calibri" panose="020F0502020204030204" pitchFamily="34" charset="0"/>
                <a:cs typeface="Segoe UI Semibold"/>
              </a:rPr>
              <a:t>There is a significant time cost associated with meta-data tagging. This may include creating and maintaining a tag taxonomy and tagging of all existing files. </a:t>
            </a:r>
          </a:p>
          <a:p>
            <a:pPr marL="171450" indent="-171450">
              <a:spcBef>
                <a:spcPts val="0"/>
              </a:spcBef>
              <a:spcAft>
                <a:spcPts val="200"/>
              </a:spcAft>
              <a:buClr>
                <a:srgbClr val="FF0000"/>
              </a:buClr>
              <a:buFont typeface="Wingdings 2" panose="05020102010507070707" pitchFamily="18" charset="2"/>
              <a:buChar char=""/>
            </a:pPr>
            <a:r>
              <a:rPr lang="en-AU" sz="1000">
                <a:solidFill>
                  <a:schemeClr val="tx2"/>
                </a:solidFill>
                <a:latin typeface="VIC" panose="00000500000000000000" pitchFamily="50" charset="0"/>
                <a:ea typeface="Calibri" panose="020F0502020204030204" pitchFamily="34" charset="0"/>
                <a:cs typeface="Segoe UI Semibold"/>
              </a:rPr>
              <a:t>Employees will require guidance and support to ensure tagging is done consistently and appropriately. </a:t>
            </a:r>
            <a:endParaRPr lang="en-AU" sz="1000">
              <a:solidFill>
                <a:schemeClr val="tx2"/>
              </a:solidFill>
              <a:effectLst/>
              <a:latin typeface="VIC" panose="00000500000000000000" pitchFamily="50" charset="0"/>
              <a:ea typeface="Calibri" panose="020F0502020204030204" pitchFamily="34" charset="0"/>
              <a:cs typeface="Segoe UI Semibold"/>
            </a:endParaRPr>
          </a:p>
        </p:txBody>
      </p:sp>
      <p:grpSp>
        <p:nvGrpSpPr>
          <p:cNvPr id="44" name="Group 43">
            <a:extLst>
              <a:ext uri="{FF2B5EF4-FFF2-40B4-BE49-F238E27FC236}">
                <a16:creationId xmlns:a16="http://schemas.microsoft.com/office/drawing/2014/main" id="{CE9463A0-5FDD-605C-D71F-7AE72A7CD056}"/>
              </a:ext>
            </a:extLst>
          </p:cNvPr>
          <p:cNvGrpSpPr/>
          <p:nvPr/>
        </p:nvGrpSpPr>
        <p:grpSpPr>
          <a:xfrm>
            <a:off x="6659999" y="1748544"/>
            <a:ext cx="2700000" cy="360000"/>
            <a:chOff x="551940" y="2530177"/>
            <a:chExt cx="4198844" cy="497373"/>
          </a:xfrm>
        </p:grpSpPr>
        <p:grpSp>
          <p:nvGrpSpPr>
            <p:cNvPr id="45" name="Group 44">
              <a:extLst>
                <a:ext uri="{FF2B5EF4-FFF2-40B4-BE49-F238E27FC236}">
                  <a16:creationId xmlns:a16="http://schemas.microsoft.com/office/drawing/2014/main" id="{E1238B80-7A09-7550-C049-F409D7A12C9F}"/>
                </a:ext>
              </a:extLst>
            </p:cNvPr>
            <p:cNvGrpSpPr/>
            <p:nvPr/>
          </p:nvGrpSpPr>
          <p:grpSpPr>
            <a:xfrm>
              <a:off x="2771463" y="2530177"/>
              <a:ext cx="1979321" cy="497367"/>
              <a:chOff x="2819088" y="2528600"/>
              <a:chExt cx="1979321" cy="490801"/>
            </a:xfrm>
          </p:grpSpPr>
          <p:sp>
            <p:nvSpPr>
              <p:cNvPr id="49" name="Freeform: Shape 48">
                <a:extLst>
                  <a:ext uri="{FF2B5EF4-FFF2-40B4-BE49-F238E27FC236}">
                    <a16:creationId xmlns:a16="http://schemas.microsoft.com/office/drawing/2014/main" id="{A1FE5B3D-4D7C-473E-AEA5-AF3701D82446}"/>
                  </a:ext>
                </a:extLst>
              </p:cNvPr>
              <p:cNvSpPr/>
              <p:nvPr/>
            </p:nvSpPr>
            <p:spPr>
              <a:xfrm>
                <a:off x="2819088" y="2528600"/>
                <a:ext cx="1979321" cy="490801"/>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50"/>
              </a:p>
            </p:txBody>
          </p:sp>
          <p:sp>
            <p:nvSpPr>
              <p:cNvPr id="50" name="Freeform: Shape 49">
                <a:extLst>
                  <a:ext uri="{FF2B5EF4-FFF2-40B4-BE49-F238E27FC236}">
                    <a16:creationId xmlns:a16="http://schemas.microsoft.com/office/drawing/2014/main" id="{EDC88B1B-9694-E59D-69B7-029411F377DD}"/>
                  </a:ext>
                </a:extLst>
              </p:cNvPr>
              <p:cNvSpPr/>
              <p:nvPr/>
            </p:nvSpPr>
            <p:spPr>
              <a:xfrm>
                <a:off x="4244921" y="2529160"/>
                <a:ext cx="448277" cy="490241"/>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sz="1050"/>
              </a:p>
            </p:txBody>
          </p:sp>
        </p:grpSp>
        <p:grpSp>
          <p:nvGrpSpPr>
            <p:cNvPr id="46" name="Group 45">
              <a:extLst>
                <a:ext uri="{FF2B5EF4-FFF2-40B4-BE49-F238E27FC236}">
                  <a16:creationId xmlns:a16="http://schemas.microsoft.com/office/drawing/2014/main" id="{63480FE2-F8AA-AC52-2B67-EDFEB8EB9D15}"/>
                </a:ext>
              </a:extLst>
            </p:cNvPr>
            <p:cNvGrpSpPr>
              <a:grpSpLocks noChangeAspect="1"/>
            </p:cNvGrpSpPr>
            <p:nvPr/>
          </p:nvGrpSpPr>
          <p:grpSpPr>
            <a:xfrm>
              <a:off x="551940" y="2530183"/>
              <a:ext cx="3924810" cy="497367"/>
              <a:chOff x="699941" y="2034231"/>
              <a:chExt cx="1692000" cy="576024"/>
            </a:xfrm>
            <a:solidFill>
              <a:schemeClr val="accent3"/>
            </a:solidFill>
          </p:grpSpPr>
          <p:sp>
            <p:nvSpPr>
              <p:cNvPr id="47" name="Freeform: Shape 46">
                <a:extLst>
                  <a:ext uri="{FF2B5EF4-FFF2-40B4-BE49-F238E27FC236}">
                    <a16:creationId xmlns:a16="http://schemas.microsoft.com/office/drawing/2014/main" id="{C591563B-A84F-AB78-D605-34EFC4BE6213}"/>
                  </a:ext>
                </a:extLst>
              </p:cNvPr>
              <p:cNvSpPr/>
              <p:nvPr/>
            </p:nvSpPr>
            <p:spPr>
              <a:xfrm>
                <a:off x="699941" y="2034231"/>
                <a:ext cx="1692000" cy="576024"/>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1"/>
              </a:solidFill>
              <a:ln w="9525" cap="flat">
                <a:noFill/>
                <a:prstDash val="solid"/>
                <a:miter/>
              </a:ln>
            </p:spPr>
            <p:txBody>
              <a:bodyPr rtlCol="0" anchor="ctr"/>
              <a:lstStyle/>
              <a:p>
                <a:endParaRPr lang="en-AU" sz="1050"/>
              </a:p>
            </p:txBody>
          </p:sp>
          <p:sp>
            <p:nvSpPr>
              <p:cNvPr id="48" name="Text Placeholder 14">
                <a:extLst>
                  <a:ext uri="{FF2B5EF4-FFF2-40B4-BE49-F238E27FC236}">
                    <a16:creationId xmlns:a16="http://schemas.microsoft.com/office/drawing/2014/main" id="{E72A5BFB-0E63-0B27-0205-85ECA0CD0CDD}"/>
                  </a:ext>
                </a:extLst>
              </p:cNvPr>
              <p:cNvSpPr txBox="1">
                <a:spLocks/>
              </p:cNvSpPr>
              <p:nvPr/>
            </p:nvSpPr>
            <p:spPr>
              <a:xfrm>
                <a:off x="732830" y="2216987"/>
                <a:ext cx="1493280" cy="219587"/>
              </a:xfrm>
              <a:prstGeom prst="rect">
                <a:avLst/>
              </a:prstGeom>
              <a:no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AU" sz="1100" b="1">
                    <a:solidFill>
                      <a:schemeClr val="bg1"/>
                    </a:solidFill>
                    <a:latin typeface="VIC SemiBold" panose="00000700000000000000" pitchFamily="50" charset="0"/>
                    <a:cs typeface="Segoe UI Semibold" panose="020B0702040204020203" pitchFamily="34" charset="0"/>
                  </a:rPr>
                  <a:t>ACTION 3: Use meta-data tags</a:t>
                </a:r>
              </a:p>
            </p:txBody>
          </p:sp>
        </p:grpSp>
      </p:grpSp>
      <p:sp>
        <p:nvSpPr>
          <p:cNvPr id="51" name="Rectangle 50">
            <a:extLst>
              <a:ext uri="{FF2B5EF4-FFF2-40B4-BE49-F238E27FC236}">
                <a16:creationId xmlns:a16="http://schemas.microsoft.com/office/drawing/2014/main" id="{6B497862-CDE8-D6F8-E21A-186CD80CFA12}"/>
              </a:ext>
            </a:extLst>
          </p:cNvPr>
          <p:cNvSpPr/>
          <p:nvPr/>
        </p:nvSpPr>
        <p:spPr>
          <a:xfrm>
            <a:off x="6659999" y="2108294"/>
            <a:ext cx="2700000" cy="11321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r>
              <a:rPr lang="en-AU" sz="1000" i="1">
                <a:solidFill>
                  <a:schemeClr val="tx2"/>
                </a:solidFill>
                <a:latin typeface="+mj-lt"/>
                <a:cs typeface="Segoe UI Semilight"/>
              </a:rPr>
              <a:t>This action involves improving usage of meta-data tags on all files and documents across the organisation’s system. Employees should use consistent tags to enable quick filtering and location of the materials they need. </a:t>
            </a:r>
            <a:endParaRPr lang="en-AU" sz="1000">
              <a:solidFill>
                <a:schemeClr val="tx2"/>
              </a:solidFill>
              <a:latin typeface="+mj-lt"/>
              <a:cs typeface="Segoe UI Semilight"/>
            </a:endParaRPr>
          </a:p>
        </p:txBody>
      </p:sp>
    </p:spTree>
    <p:extLst>
      <p:ext uri="{BB962C8B-B14F-4D97-AF65-F5344CB8AC3E}">
        <p14:creationId xmlns:p14="http://schemas.microsoft.com/office/powerpoint/2010/main" val="12344288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9" ma:contentTypeDescription="Create a new document." ma:contentTypeScope="" ma:versionID="181bc69c8014eae7075099ceadbe6696">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8d3247d697180b59e86eabbbbb781d18"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element ref="ns2:Exemptionground" minOccurs="0"/>
                <xsd:element ref="ns2:MediaServiceSearchProperties" minOccurs="0"/>
                <xsd:element ref="ns2:Not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element name="Exemptionground" ma:index="33" nillable="true" ma:displayName="Exemption ground" ma:description="Exemption ground in the Subordinate Legislation Act. Key grounds:&#10;8(1)(a) - SR no significant burden&#10;8(1)(c) - SR declaratory or machinery&#10;8(1)(d) - SR fees increasing below Treasurer's rate&#10;8(1)(f) - SR national uniform legislation&#10;12F(1)(a) - LI no significant burden&#10;12F(1)(b) - LI declaratory or machinery&#10;12F(1)(c) - LI fees increasing below Treasurer's rate&#10;12F(1)(d) - LI burden only on public sector&#10;12F(1)(f) - LI national uniform legislation&#10;12F(1)(g) - LI equivalent RIS process &#10;12F(1)(h) - LI less than 12 months duration&#10;&#10;&#10;&#10;" ma:format="Dropdown" ma:internalName="Exemptionground">
      <xsd:simpleType>
        <xsd:restriction base="dms:Text">
          <xsd:maxLength value="255"/>
        </xsd:restriction>
      </xsd:simpleType>
    </xsd:element>
    <xsd:element name="MediaServiceSearchProperties" ma:index="34" nillable="true" ma:displayName="MediaServiceSearchProperties" ma:hidden="true" ma:internalName="MediaServiceSearchProperties" ma:readOnly="true">
      <xsd:simpleType>
        <xsd:restriction base="dms:Note"/>
      </xsd:simpleType>
    </xsd:element>
    <xsd:element name="Notes" ma:index="35" nillable="true" ma:displayName="Notes" ma:format="Dropdown" ma:internalName="Notes">
      <xsd:simpleType>
        <xsd:restriction base="dms:Note">
          <xsd:maxLength value="255"/>
        </xsd:restriction>
      </xsd:simpleType>
    </xsd:element>
    <xsd:element name="_Flow_SignoffStatus" ma:index="36" nillable="true" ma:displayName="Sign-off status" ma:internalName="_x0024_Resources_x003a_core_x002c_Signoff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HasaRIS_x002f_LIAdrafted_x003f_ xmlns="c5048082-e052-44c2-9313-1529a8e2ac53">false</HasaRIS_x002f_LIAdrafted_x003f_>
    <Assignedto xmlns="c5048082-e052-44c2-9313-1529a8e2ac53">
      <UserInfo>
        <DisplayName/>
        <AccountId xsi:nil="true"/>
        <AccountType/>
      </UserInfo>
    </Assignedto>
    <Requester xmlns="c5048082-e052-44c2-9313-1529a8e2ac53">
      <UserInfo>
        <DisplayName/>
        <AccountId xsi:nil="true"/>
        <AccountType/>
      </UserInfo>
    </Requester>
    <Exemptionground xmlns="c5048082-e052-44c2-9313-1529a8e2ac53" xsi:nil="true"/>
    <Notes xmlns="c5048082-e052-44c2-9313-1529a8e2ac53" xsi:nil="true"/>
    <_Flow_SignoffStatus xmlns="c5048082-e052-44c2-9313-1529a8e2ac53" xsi:nil="true"/>
  </documentManagement>
</p:properties>
</file>

<file path=customXml/itemProps1.xml><?xml version="1.0" encoding="utf-8"?>
<ds:datastoreItem xmlns:ds="http://schemas.openxmlformats.org/officeDocument/2006/customXml" ds:itemID="{34ADAA2A-9A20-46CB-85D6-3C3CE7E56957}"/>
</file>

<file path=customXml/itemProps2.xml><?xml version="1.0" encoding="utf-8"?>
<ds:datastoreItem xmlns:ds="http://schemas.openxmlformats.org/officeDocument/2006/customXml" ds:itemID="{25D67901-E5A7-4095-9B84-D59F73F2D25B}">
  <ds:schemaRefs>
    <ds:schemaRef ds:uri="http://schemas.microsoft.com/sharepoint/v3/contenttype/forms"/>
  </ds:schemaRefs>
</ds:datastoreItem>
</file>

<file path=customXml/itemProps3.xml><?xml version="1.0" encoding="utf-8"?>
<ds:datastoreItem xmlns:ds="http://schemas.openxmlformats.org/officeDocument/2006/customXml" ds:itemID="{5D297E5D-4929-4641-B886-44A98166C815}">
  <ds:schemaRefs>
    <ds:schemaRef ds:uri="97580cac-1a46-464e-a749-263d0beaf9ec"/>
    <ds:schemaRef ds:uri="http://schemas.openxmlformats.org/package/2006/metadata/core-properties"/>
    <ds:schemaRef ds:uri="http://purl.org/dc/elements/1.1/"/>
    <ds:schemaRef ds:uri="http://schemas.microsoft.com/office/infopath/2007/PartnerControls"/>
    <ds:schemaRef ds:uri="c5048082-e052-44c2-9313-1529a8e2ac53"/>
    <ds:schemaRef ds:uri="http://schemas.microsoft.com/office/2006/metadata/properties"/>
    <ds:schemaRef ds:uri="http://purl.org/dc/term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2</TotalTime>
  <Words>1808</Words>
  <Application>Microsoft Office PowerPoint</Application>
  <PresentationFormat>A4 Paper (210x297 mm)</PresentationFormat>
  <Paragraphs>134</Paragraphs>
  <Slides>7</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Segoe UI</vt:lpstr>
      <vt:lpstr>Segoe UI Semibold</vt:lpstr>
      <vt:lpstr>VIC</vt:lpstr>
      <vt:lpstr>VIC SemiBold</vt:lpstr>
      <vt:lpstr>Wingdings</vt:lpstr>
      <vt:lpstr>Wingdings 2</vt:lpstr>
      <vt:lpstr>Report - Core</vt:lpstr>
      <vt:lpstr>think-cell Slide</vt:lpstr>
      <vt:lpstr>PowerPoint Presentation</vt:lpstr>
      <vt:lpstr>PowerPoint Presentation</vt:lpstr>
      <vt:lpstr>Your future structure should be informed by a systematic assessment of your data ecosystem</vt:lpstr>
      <vt:lpstr>Use better practice design principles to inform your future structure</vt:lpstr>
      <vt:lpstr>Regulatory and operational use cases can be inputs to future state design</vt:lpstr>
      <vt:lpstr>Implementing an improved information structure should make it easier for employees to find the information they need</vt:lpstr>
      <vt:lpstr>Interim actions can improve collaboration without a complete re-desig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Gill</dc:creator>
  <cp:lastModifiedBy>Helena Worthington (DTF)</cp:lastModifiedBy>
  <cp:revision>1</cp:revision>
  <cp:lastPrinted>2024-06-11T21:46:15Z</cp:lastPrinted>
  <dcterms:created xsi:type="dcterms:W3CDTF">2023-04-25T01:08:19Z</dcterms:created>
  <dcterms:modified xsi:type="dcterms:W3CDTF">2024-10-28T00:5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y fmtid="{D5CDD505-2E9C-101B-9397-08002B2CF9AE}" pid="4" name="MSIP_Label_7158ebbd-6c5e-441f-bfc9-4eb8c11e3978_Enabled">
    <vt:lpwstr>true</vt:lpwstr>
  </property>
  <property fmtid="{D5CDD505-2E9C-101B-9397-08002B2CF9AE}" pid="5" name="MSIP_Label_7158ebbd-6c5e-441f-bfc9-4eb8c11e3978_SetDate">
    <vt:lpwstr>2024-10-15T22:27:45Z</vt:lpwstr>
  </property>
  <property fmtid="{D5CDD505-2E9C-101B-9397-08002B2CF9AE}" pid="6" name="MSIP_Label_7158ebbd-6c5e-441f-bfc9-4eb8c11e3978_Method">
    <vt:lpwstr>Privileged</vt:lpwstr>
  </property>
  <property fmtid="{D5CDD505-2E9C-101B-9397-08002B2CF9AE}" pid="7" name="MSIP_Label_7158ebbd-6c5e-441f-bfc9-4eb8c11e3978_Name">
    <vt:lpwstr>7158ebbd-6c5e-441f-bfc9-4eb8c11e3978</vt:lpwstr>
  </property>
  <property fmtid="{D5CDD505-2E9C-101B-9397-08002B2CF9AE}" pid="8" name="MSIP_Label_7158ebbd-6c5e-441f-bfc9-4eb8c11e3978_SiteId">
    <vt:lpwstr>722ea0be-3e1c-4b11-ad6f-9401d6856e24</vt:lpwstr>
  </property>
  <property fmtid="{D5CDD505-2E9C-101B-9397-08002B2CF9AE}" pid="9" name="MSIP_Label_7158ebbd-6c5e-441f-bfc9-4eb8c11e3978_ActionId">
    <vt:lpwstr>d22a1d63-2aa9-4d55-a903-2168e9eea4d2</vt:lpwstr>
  </property>
  <property fmtid="{D5CDD505-2E9C-101B-9397-08002B2CF9AE}" pid="10" name="MSIP_Label_7158ebbd-6c5e-441f-bfc9-4eb8c11e3978_ContentBits">
    <vt:lpwstr>2</vt:lpwstr>
  </property>
  <property fmtid="{D5CDD505-2E9C-101B-9397-08002B2CF9AE}" pid="11" name="ClassificationContentMarkingFooterLocations">
    <vt:lpwstr>Report - Core:6</vt:lpwstr>
  </property>
  <property fmtid="{D5CDD505-2E9C-101B-9397-08002B2CF9AE}" pid="12" name="ClassificationContentMarkingFooterText">
    <vt:lpwstr>OFFICIAL</vt:lpwstr>
  </property>
</Properties>
</file>